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notesSlides/notesSlide3.xml" ContentType="application/vnd.openxmlformats-officedocument.presentationml.notesSlide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notesSlides/notesSlide7.xml" ContentType="application/vnd.openxmlformats-officedocument.presentationml.notesSlide+xml"/>
  <Override PartName="/ppt/tags/tag18.xml" ContentType="application/vnd.openxmlformats-officedocument.presentationml.tags+xml"/>
  <Override PartName="/ppt/notesSlides/notesSlide8.xml" ContentType="application/vnd.openxmlformats-officedocument.presentationml.notesSlide+xml"/>
  <Override PartName="/ppt/tags/tag19.xml" ContentType="application/vnd.openxmlformats-officedocument.presentationml.tags+xml"/>
  <Override PartName="/ppt/notesSlides/notesSlide9.xml" ContentType="application/vnd.openxmlformats-officedocument.presentationml.notesSlide+xml"/>
  <Override PartName="/ppt/tags/tag20.xml" ContentType="application/vnd.openxmlformats-officedocument.presentationml.tags+xml"/>
  <Override PartName="/ppt/notesSlides/notesSlide10.xml" ContentType="application/vnd.openxmlformats-officedocument.presentationml.notesSlide+xml"/>
  <Override PartName="/ppt/tags/tag21.xml" ContentType="application/vnd.openxmlformats-officedocument.presentationml.tags+xml"/>
  <Override PartName="/ppt/notesSlides/notesSlide11.xml" ContentType="application/vnd.openxmlformats-officedocument.presentationml.notesSlide+xml"/>
  <Override PartName="/ppt/tags/tag22.xml" ContentType="application/vnd.openxmlformats-officedocument.presentationml.tags+xml"/>
  <Override PartName="/ppt/notesSlides/notesSlide12.xml" ContentType="application/vnd.openxmlformats-officedocument.presentationml.notesSlide+xml"/>
  <Override PartName="/ppt/tags/tag23.xml" ContentType="application/vnd.openxmlformats-officedocument.presentationml.tags+xml"/>
  <Override PartName="/ppt/notesSlides/notesSlide13.xml" ContentType="application/vnd.openxmlformats-officedocument.presentationml.notesSlide+xml"/>
  <Override PartName="/ppt/tags/tag24.xml" ContentType="application/vnd.openxmlformats-officedocument.presentationml.tags+xml"/>
  <Override PartName="/ppt/notesSlides/notesSlide14.xml" ContentType="application/vnd.openxmlformats-officedocument.presentationml.notesSlide+xml"/>
  <Override PartName="/ppt/tags/tag25.xml" ContentType="application/vnd.openxmlformats-officedocument.presentationml.tags+xml"/>
  <Override PartName="/ppt/notesSlides/notesSlide15.xml" ContentType="application/vnd.openxmlformats-officedocument.presentationml.notesSlide+xml"/>
  <Override PartName="/ppt/tags/tag26.xml" ContentType="application/vnd.openxmlformats-officedocument.presentationml.tags+xml"/>
  <Override PartName="/ppt/notesSlides/notesSlide16.xml" ContentType="application/vnd.openxmlformats-officedocument.presentationml.notesSlide+xml"/>
  <Override PartName="/ppt/tags/tag27.xml" ContentType="application/vnd.openxmlformats-officedocument.presentationml.tags+xml"/>
  <Override PartName="/ppt/notesSlides/notesSlide17.xml" ContentType="application/vnd.openxmlformats-officedocument.presentationml.notesSlide+xml"/>
  <Override PartName="/ppt/tags/tag28.xml" ContentType="application/vnd.openxmlformats-officedocument.presentationml.tags+xml"/>
  <Override PartName="/ppt/notesSlides/notesSlide18.xml" ContentType="application/vnd.openxmlformats-officedocument.presentationml.notesSlide+xml"/>
  <Override PartName="/ppt/tags/tag29.xml" ContentType="application/vnd.openxmlformats-officedocument.presentationml.tags+xml"/>
  <Override PartName="/ppt/notesSlides/notesSlide19.xml" ContentType="application/vnd.openxmlformats-officedocument.presentationml.notesSlide+xml"/>
  <Override PartName="/ppt/tags/tag30.xml" ContentType="application/vnd.openxmlformats-officedocument.presentationml.tags+xml"/>
  <Override PartName="/ppt/notesSlides/notesSlide20.xml" ContentType="application/vnd.openxmlformats-officedocument.presentationml.notesSlide+xml"/>
  <Override PartName="/ppt/tags/tag31.xml" ContentType="application/vnd.openxmlformats-officedocument.presentationml.tags+xml"/>
  <Override PartName="/ppt/notesSlides/notesSlide21.xml" ContentType="application/vnd.openxmlformats-officedocument.presentationml.notesSlide+xml"/>
  <Override PartName="/ppt/tags/tag32.xml" ContentType="application/vnd.openxmlformats-officedocument.presentationml.tags+xml"/>
  <Override PartName="/ppt/notesSlides/notesSlide22.xml" ContentType="application/vnd.openxmlformats-officedocument.presentationml.notesSlide+xml"/>
  <Override PartName="/ppt/tags/tag33.xml" ContentType="application/vnd.openxmlformats-officedocument.presentationml.tags+xml"/>
  <Override PartName="/ppt/notesSlides/notesSlide23.xml" ContentType="application/vnd.openxmlformats-officedocument.presentationml.notesSlide+xml"/>
  <Override PartName="/ppt/ink/ink1.xml" ContentType="application/inkml+xml"/>
  <Override PartName="/ppt/tags/tag34.xml" ContentType="application/vnd.openxmlformats-officedocument.presentationml.tags+xml"/>
  <Override PartName="/ppt/notesSlides/notesSlide24.xml" ContentType="application/vnd.openxmlformats-officedocument.presentationml.notesSlide+xml"/>
  <Override PartName="/ppt/tags/tag35.xml" ContentType="application/vnd.openxmlformats-officedocument.presentationml.tags+xml"/>
  <Override PartName="/ppt/notesSlides/notesSlide25.xml" ContentType="application/vnd.openxmlformats-officedocument.presentationml.notesSlide+xml"/>
  <Override PartName="/ppt/tags/tag36.xml" ContentType="application/vnd.openxmlformats-officedocument.presentationml.tags+xml"/>
  <Override PartName="/ppt/notesSlides/notesSlide26.xml" ContentType="application/vnd.openxmlformats-officedocument.presentationml.notesSlide+xml"/>
  <Override PartName="/ppt/tags/tag37.xml" ContentType="application/vnd.openxmlformats-officedocument.presentationml.tags+xml"/>
  <Override PartName="/ppt/notesSlides/notesSlide27.xml" ContentType="application/vnd.openxmlformats-officedocument.presentationml.notesSlide+xml"/>
  <Override PartName="/ppt/tags/tag38.xml" ContentType="application/vnd.openxmlformats-officedocument.presentationml.tags+xml"/>
  <Override PartName="/ppt/notesSlides/notesSlide28.xml" ContentType="application/vnd.openxmlformats-officedocument.presentationml.notesSlide+xml"/>
  <Override PartName="/ppt/tags/tag39.xml" ContentType="application/vnd.openxmlformats-officedocument.presentationml.tags+xml"/>
  <Override PartName="/ppt/notesSlides/notesSlide29.xml" ContentType="application/vnd.openxmlformats-officedocument.presentationml.notesSlide+xml"/>
  <Override PartName="/ppt/tags/tag40.xml" ContentType="application/vnd.openxmlformats-officedocument.presentationml.tags+xml"/>
  <Override PartName="/ppt/notesSlides/notesSlide30.xml" ContentType="application/vnd.openxmlformats-officedocument.presentationml.notesSlide+xml"/>
  <Override PartName="/ppt/tags/tag41.xml" ContentType="application/vnd.openxmlformats-officedocument.presentationml.tags+xml"/>
  <Override PartName="/ppt/notesSlides/notesSlide31.xml" ContentType="application/vnd.openxmlformats-officedocument.presentationml.notesSlide+xml"/>
  <Override PartName="/ppt/tags/tag42.xml" ContentType="application/vnd.openxmlformats-officedocument.presentationml.tags+xml"/>
  <Override PartName="/ppt/notesSlides/notesSlide32.xml" ContentType="application/vnd.openxmlformats-officedocument.presentationml.notesSlide+xml"/>
  <Override PartName="/ppt/tags/tag43.xml" ContentType="application/vnd.openxmlformats-officedocument.presentationml.tags+xml"/>
  <Override PartName="/ppt/notesSlides/notesSlide33.xml" ContentType="application/vnd.openxmlformats-officedocument.presentationml.notesSlide+xml"/>
  <Override PartName="/ppt/tags/tag44.xml" ContentType="application/vnd.openxmlformats-officedocument.presentationml.tags+xml"/>
  <Override PartName="/ppt/notesSlides/notesSlide34.xml" ContentType="application/vnd.openxmlformats-officedocument.presentationml.notesSlide+xml"/>
  <Override PartName="/ppt/tags/tag45.xml" ContentType="application/vnd.openxmlformats-officedocument.presentationml.tags+xml"/>
  <Override PartName="/ppt/notesSlides/notesSlide35.xml" ContentType="application/vnd.openxmlformats-officedocument.presentationml.notesSlide+xml"/>
  <Override PartName="/ppt/tags/tag46.xml" ContentType="application/vnd.openxmlformats-officedocument.presentationml.tags+xml"/>
  <Override PartName="/ppt/notesSlides/notesSlide36.xml" ContentType="application/vnd.openxmlformats-officedocument.presentationml.notesSlide+xml"/>
  <Override PartName="/ppt/tags/tag47.xml" ContentType="application/vnd.openxmlformats-officedocument.presentationml.tags+xml"/>
  <Override PartName="/ppt/notesSlides/notesSlide37.xml" ContentType="application/vnd.openxmlformats-officedocument.presentationml.notesSlide+xml"/>
  <Override PartName="/ppt/tags/tag48.xml" ContentType="application/vnd.openxmlformats-officedocument.presentationml.tags+xml"/>
  <Override PartName="/ppt/notesSlides/notesSlide38.xml" ContentType="application/vnd.openxmlformats-officedocument.presentationml.notesSlide+xml"/>
  <Override PartName="/ppt/tags/tag49.xml" ContentType="application/vnd.openxmlformats-officedocument.presentationml.tags+xml"/>
  <Override PartName="/ppt/notesSlides/notesSlide39.xml" ContentType="application/vnd.openxmlformats-officedocument.presentationml.notesSlide+xml"/>
  <Override PartName="/ppt/tags/tag50.xml" ContentType="application/vnd.openxmlformats-officedocument.presentationml.tags+xml"/>
  <Override PartName="/ppt/notesSlides/notesSlide40.xml" ContentType="application/vnd.openxmlformats-officedocument.presentationml.notesSlide+xml"/>
  <Override PartName="/ppt/tags/tag51.xml" ContentType="application/vnd.openxmlformats-officedocument.presentationml.tags+xml"/>
  <Override PartName="/ppt/notesSlides/notesSlide41.xml" ContentType="application/vnd.openxmlformats-officedocument.presentationml.notesSlide+xml"/>
  <Override PartName="/ppt/tags/tag52.xml" ContentType="application/vnd.openxmlformats-officedocument.presentationml.tags+xml"/>
  <Override PartName="/ppt/notesSlides/notesSlide42.xml" ContentType="application/vnd.openxmlformats-officedocument.presentationml.notesSlide+xml"/>
  <Override PartName="/ppt/tags/tag53.xml" ContentType="application/vnd.openxmlformats-officedocument.presentationml.tags+xml"/>
  <Override PartName="/ppt/notesSlides/notesSlide43.xml" ContentType="application/vnd.openxmlformats-officedocument.presentationml.notesSlide+xml"/>
  <Override PartName="/ppt/tags/tag54.xml" ContentType="application/vnd.openxmlformats-officedocument.presentationml.tags+xml"/>
  <Override PartName="/ppt/notesSlides/notesSlide44.xml" ContentType="application/vnd.openxmlformats-officedocument.presentationml.notesSlide+xml"/>
  <Override PartName="/ppt/tags/tag55.xml" ContentType="application/vnd.openxmlformats-officedocument.presentationml.tags+xml"/>
  <Override PartName="/ppt/notesSlides/notesSlide45.xml" ContentType="application/vnd.openxmlformats-officedocument.presentationml.notesSlide+xml"/>
  <Override PartName="/ppt/tags/tag56.xml" ContentType="application/vnd.openxmlformats-officedocument.presentationml.tags+xml"/>
  <Override PartName="/ppt/notesSlides/notesSlide46.xml" ContentType="application/vnd.openxmlformats-officedocument.presentationml.notesSlide+xml"/>
  <Override PartName="/ppt/tags/tag57.xml" ContentType="application/vnd.openxmlformats-officedocument.presentationml.tags+xml"/>
  <Override PartName="/ppt/notesSlides/notesSlide4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0"/>
  </p:notesMasterIdLst>
  <p:sldIdLst>
    <p:sldId id="256" r:id="rId3"/>
    <p:sldId id="257" r:id="rId4"/>
    <p:sldId id="350" r:id="rId5"/>
    <p:sldId id="259" r:id="rId6"/>
    <p:sldId id="260" r:id="rId7"/>
    <p:sldId id="262" r:id="rId8"/>
    <p:sldId id="261" r:id="rId9"/>
    <p:sldId id="264" r:id="rId10"/>
    <p:sldId id="263" r:id="rId11"/>
    <p:sldId id="351" r:id="rId12"/>
    <p:sldId id="266" r:id="rId13"/>
    <p:sldId id="352" r:id="rId14"/>
    <p:sldId id="320" r:id="rId15"/>
    <p:sldId id="353" r:id="rId16"/>
    <p:sldId id="322" r:id="rId17"/>
    <p:sldId id="354" r:id="rId18"/>
    <p:sldId id="355" r:id="rId19"/>
    <p:sldId id="356" r:id="rId20"/>
    <p:sldId id="357" r:id="rId21"/>
    <p:sldId id="358" r:id="rId22"/>
    <p:sldId id="361" r:id="rId23"/>
    <p:sldId id="359" r:id="rId24"/>
    <p:sldId id="360" r:id="rId25"/>
    <p:sldId id="362" r:id="rId26"/>
    <p:sldId id="374" r:id="rId27"/>
    <p:sldId id="375" r:id="rId28"/>
    <p:sldId id="376" r:id="rId29"/>
    <p:sldId id="366" r:id="rId30"/>
    <p:sldId id="363" r:id="rId31"/>
    <p:sldId id="365" r:id="rId32"/>
    <p:sldId id="367" r:id="rId33"/>
    <p:sldId id="364" r:id="rId34"/>
    <p:sldId id="368" r:id="rId35"/>
    <p:sldId id="369" r:id="rId36"/>
    <p:sldId id="372" r:id="rId37"/>
    <p:sldId id="370" r:id="rId38"/>
    <p:sldId id="371" r:id="rId39"/>
    <p:sldId id="325" r:id="rId40"/>
    <p:sldId id="330" r:id="rId41"/>
    <p:sldId id="373" r:id="rId42"/>
    <p:sldId id="343" r:id="rId43"/>
    <p:sldId id="284" r:id="rId44"/>
    <p:sldId id="377" r:id="rId45"/>
    <p:sldId id="285" r:id="rId46"/>
    <p:sldId id="286" r:id="rId47"/>
    <p:sldId id="317" r:id="rId48"/>
    <p:sldId id="378" r:id="rId49"/>
  </p:sldIdLst>
  <p:sldSz cx="12192000" cy="6858000"/>
  <p:notesSz cx="6858000" cy="9144000"/>
  <p:defaultTextStyle>
    <a:defPPr>
      <a:defRPr lang="ar-S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مقطع افتراضي" id="{C9E767E1-AD6C-49F6-A0EC-85F8D5B1BCF1}">
          <p14:sldIdLst>
            <p14:sldId id="256"/>
          </p14:sldIdLst>
        </p14:section>
        <p14:section name="مقطع بدون عنوان" id="{C819A34E-63E6-40BF-8D1A-CD0528A88D93}">
          <p14:sldIdLst>
            <p14:sldId id="257"/>
            <p14:sldId id="350"/>
            <p14:sldId id="259"/>
            <p14:sldId id="260"/>
            <p14:sldId id="262"/>
            <p14:sldId id="261"/>
            <p14:sldId id="264"/>
            <p14:sldId id="263"/>
            <p14:sldId id="351"/>
            <p14:sldId id="266"/>
            <p14:sldId id="352"/>
            <p14:sldId id="320"/>
            <p14:sldId id="353"/>
            <p14:sldId id="322"/>
            <p14:sldId id="354"/>
            <p14:sldId id="355"/>
            <p14:sldId id="356"/>
            <p14:sldId id="357"/>
            <p14:sldId id="358"/>
            <p14:sldId id="361"/>
            <p14:sldId id="359"/>
            <p14:sldId id="360"/>
            <p14:sldId id="362"/>
            <p14:sldId id="374"/>
            <p14:sldId id="375"/>
            <p14:sldId id="376"/>
            <p14:sldId id="366"/>
            <p14:sldId id="363"/>
            <p14:sldId id="365"/>
            <p14:sldId id="367"/>
            <p14:sldId id="364"/>
            <p14:sldId id="368"/>
            <p14:sldId id="369"/>
            <p14:sldId id="372"/>
            <p14:sldId id="370"/>
            <p14:sldId id="371"/>
            <p14:sldId id="325"/>
            <p14:sldId id="330"/>
            <p14:sldId id="373"/>
            <p14:sldId id="343"/>
            <p14:sldId id="284"/>
            <p14:sldId id="377"/>
            <p14:sldId id="285"/>
            <p14:sldId id="286"/>
            <p14:sldId id="317"/>
            <p14:sldId id="378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0372"/>
    <a:srgbClr val="F1F6DF"/>
    <a:srgbClr val="FFC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نمط متوسط 2 - تميي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نمط فاتح 2 - تميي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10" autoAdjust="0"/>
    <p:restoredTop sz="89864" autoAdjust="0"/>
  </p:normalViewPr>
  <p:slideViewPr>
    <p:cSldViewPr snapToGrid="0">
      <p:cViewPr>
        <p:scale>
          <a:sx n="90" d="100"/>
          <a:sy n="90" d="100"/>
        </p:scale>
        <p:origin x="18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8" Type="http://schemas.openxmlformats.org/officeDocument/2006/relationships/slide" Target="slides/slide6.xml"/><Relationship Id="rId51" Type="http://schemas.openxmlformats.org/officeDocument/2006/relationships/presProps" Target="presProps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3-01-30T17:40:44.109"/>
    </inkml:context>
    <inkml:brush xml:id="br0">
      <inkml:brushProperty name="width" value="0.05" units="cm"/>
      <inkml:brushProperty name="height" value="0.05" units="cm"/>
      <inkml:brushProperty name="color" value="#FF0066"/>
    </inkml:brush>
  </inkml:definitions>
  <inkml:trace contextRef="#ctx0" brushRef="#br0">1 1 24575,'0'0'-8191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ar-S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fld id="{ED6E153E-CC04-4B26-A724-27309B366635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ar-S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fld id="{0668D44F-3BE4-4262-985A-2E8A7AA90E32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584947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22147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02435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65731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4647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332952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6732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86601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520393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9360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2196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80039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0373532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190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8103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02153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74087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77053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398430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1520474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049946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41294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98368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437963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07462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836455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860547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32148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1208058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834493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194147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3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53350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922756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3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2593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57095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225756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203930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163718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084030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9295737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📲 </a:t>
            </a:r>
            <a:r>
              <a:rPr lang="ar-SA" dirty="0"/>
              <a:t>نسخة </a:t>
            </a:r>
            <a:r>
              <a:rPr lang="en-US" dirty="0"/>
              <a:t>Android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نسخة </a:t>
            </a:r>
            <a:r>
              <a:rPr lang="en-US" dirty="0"/>
              <a:t>iOS - </a:t>
            </a:r>
            <a:r>
              <a:rPr lang="ar-SA" dirty="0"/>
              <a:t>بديل تعليمي:</a:t>
            </a:r>
          </a:p>
          <a:p>
            <a:r>
              <a:rPr lang="en-US" dirty="0"/>
              <a:t>https://apps.apple.com/us/app/spck-editor/id1507309511</a:t>
            </a:r>
          </a:p>
          <a:p>
            <a:endParaRPr lang="en-US" dirty="0"/>
          </a:p>
          <a:p>
            <a:r>
              <a:rPr lang="ar-SA" dirty="0"/>
              <a:t>الشرح</a:t>
            </a:r>
          </a:p>
          <a:p>
            <a:r>
              <a:rPr lang="en-US" dirty="0"/>
              <a:t>https://youtu.be/MY7VQjdEVUc</a:t>
            </a:r>
          </a:p>
          <a:p>
            <a:endParaRPr lang="en-US" dirty="0"/>
          </a:p>
          <a:p>
            <a:r>
              <a:rPr lang="ar-SA" dirty="0"/>
              <a:t>اسم البرنامج: </a:t>
            </a:r>
            <a:r>
              <a:rPr lang="en-US" dirty="0"/>
              <a:t>Visual Studio Code 💎Ⓜ️ </a:t>
            </a:r>
          </a:p>
          <a:p>
            <a:endParaRPr lang="en-US" dirty="0"/>
          </a:p>
          <a:p>
            <a:r>
              <a:rPr lang="en-US" dirty="0"/>
              <a:t>✳️ </a:t>
            </a:r>
            <a:r>
              <a:rPr lang="ar-SA" dirty="0"/>
              <a:t>رابط </a:t>
            </a:r>
            <a:r>
              <a:rPr lang="en-US" dirty="0"/>
              <a:t>Google Drive :</a:t>
            </a:r>
          </a:p>
          <a:p>
            <a:r>
              <a:rPr lang="en-US" dirty="0"/>
              <a:t>https://drive.google.com/file/d/1YrIjtYInU0aHSrT1zaO34Z1MEWKp7dGt/view?usp=sharing</a:t>
            </a:r>
          </a:p>
          <a:p>
            <a:endParaRPr lang="en-US" dirty="0"/>
          </a:p>
          <a:p>
            <a:r>
              <a:rPr lang="en-US" dirty="0"/>
              <a:t>✴️ </a:t>
            </a:r>
            <a:r>
              <a:rPr lang="ar-SA" dirty="0"/>
              <a:t>الروابط الرسمية:</a:t>
            </a:r>
          </a:p>
          <a:p>
            <a:endParaRPr lang="ar-SA" dirty="0"/>
          </a:p>
          <a:p>
            <a:r>
              <a:rPr lang="en-US" dirty="0"/>
              <a:t>💻 </a:t>
            </a:r>
            <a:r>
              <a:rPr lang="ar-SA" dirty="0"/>
              <a:t>نسخة </a:t>
            </a:r>
            <a:r>
              <a:rPr lang="en-US" dirty="0"/>
              <a:t>Windows:</a:t>
            </a:r>
          </a:p>
          <a:p>
            <a:r>
              <a:rPr lang="en-US" dirty="0"/>
              <a:t>https://code.visualstudio.com/download</a:t>
            </a:r>
          </a:p>
          <a:p>
            <a:endParaRPr lang="en-US" dirty="0"/>
          </a:p>
          <a:p>
            <a:r>
              <a:rPr lang="en-US" dirty="0"/>
              <a:t>⭐️ </a:t>
            </a:r>
            <a:r>
              <a:rPr lang="ar-SA" dirty="0"/>
              <a:t>بديل تعليمي 1 - موقع أونلاين:</a:t>
            </a:r>
          </a:p>
          <a:p>
            <a:r>
              <a:rPr lang="en-US" dirty="0"/>
              <a:t>https://harmash.com/web-editor/?tutorial=html&amp;lesson=html-tags&amp;file=doctype</a:t>
            </a:r>
          </a:p>
          <a:p>
            <a:endParaRPr lang="en-US" dirty="0"/>
          </a:p>
          <a:p>
            <a:r>
              <a:rPr lang="en-US" dirty="0"/>
              <a:t>🌐 </a:t>
            </a:r>
            <a:r>
              <a:rPr lang="ar-SA" dirty="0"/>
              <a:t>موقع اونلاين 2 - موقع أونلاين:</a:t>
            </a:r>
          </a:p>
          <a:p>
            <a:r>
              <a:rPr lang="en-US" dirty="0"/>
              <a:t>https://vscode.dev/</a:t>
            </a:r>
          </a:p>
          <a:p>
            <a:endParaRPr lang="en-US" dirty="0"/>
          </a:p>
          <a:p>
            <a:r>
              <a:rPr lang="en-US" dirty="0"/>
              <a:t>📲 </a:t>
            </a:r>
            <a:r>
              <a:rPr lang="ar-SA" dirty="0"/>
              <a:t>بديل تعليمي 3 - نسخة </a:t>
            </a:r>
            <a:r>
              <a:rPr lang="en-US" dirty="0"/>
              <a:t>Android :</a:t>
            </a:r>
          </a:p>
          <a:p>
            <a:r>
              <a:rPr lang="en-US" dirty="0"/>
              <a:t>https://play.google.com/store/apps/details?id=io.spck</a:t>
            </a:r>
          </a:p>
          <a:p>
            <a:endParaRPr lang="en-US" dirty="0"/>
          </a:p>
          <a:p>
            <a:r>
              <a:rPr lang="en-US" dirty="0"/>
              <a:t>📱 </a:t>
            </a:r>
            <a:r>
              <a:rPr lang="ar-SA" dirty="0"/>
              <a:t>بديل تعليمي 4 - نسخة </a:t>
            </a:r>
            <a:r>
              <a:rPr lang="en-US" dirty="0"/>
              <a:t>iOS:</a:t>
            </a:r>
          </a:p>
          <a:p>
            <a:r>
              <a:rPr lang="en-US" dirty="0"/>
              <a:t>https://apps.apple.com/us/app/spck-editor/id150730951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2753894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896212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4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8284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0028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9636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C1585EA-7F30-47FF-9F68-8C7B5BDB9D50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8442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C1585EA-7F30-47FF-9F68-8C7B5BDB9D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55590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06700" indent="-2067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000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081049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1101136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2773196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5" name="Title 1"/>
          <p:cNvSpPr txBox="1">
            <a:spLocks/>
          </p:cNvSpPr>
          <p:nvPr userDrawn="1"/>
        </p:nvSpPr>
        <p:spPr>
          <a:xfrm>
            <a:off x="495301" y="189526"/>
            <a:ext cx="11099801" cy="756223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endParaRPr lang="en-US" sz="3200" baseline="30000" dirty="0">
              <a:solidFill>
                <a:schemeClr val="tx1"/>
              </a:solidFill>
              <a:latin typeface="Georgia"/>
              <a:cs typeface="Roboto Condensed Bold"/>
            </a:endParaRPr>
          </a:p>
        </p:txBody>
      </p:sp>
    </p:spTree>
    <p:extLst>
      <p:ext uri="{BB962C8B-B14F-4D97-AF65-F5344CB8AC3E}">
        <p14:creationId xmlns:p14="http://schemas.microsoft.com/office/powerpoint/2010/main" val="662281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sid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773386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228600" indent="-228600" algn="ctr">
              <a:buNone/>
              <a:defRPr lang="en-US" sz="3200" i="1" baseline="0" dirty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33122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Rectangle 21"/>
          <p:cNvSpPr/>
          <p:nvPr userDrawn="1"/>
        </p:nvSpPr>
        <p:spPr>
          <a:xfrm>
            <a:off x="10946383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66658382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5477906" y="0"/>
            <a:ext cx="6714093" cy="44704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  <p:sp>
        <p:nvSpPr>
          <p:cNvPr id="25" name="Content Placeholder 15"/>
          <p:cNvSpPr>
            <a:spLocks noGrp="1"/>
          </p:cNvSpPr>
          <p:nvPr>
            <p:ph sz="quarter" idx="14" hasCustomPrompt="1"/>
          </p:nvPr>
        </p:nvSpPr>
        <p:spPr>
          <a:xfrm>
            <a:off x="5330807" y="4722585"/>
            <a:ext cx="6561156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6000" b="1" i="0" kern="1200" cap="all" spc="-30" baseline="0" dirty="0" smtClean="0">
                <a:solidFill>
                  <a:schemeClr val="tx1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</a:lstStyle>
          <a:p>
            <a:pPr marL="0" lv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dirty="0"/>
              <a:t>Text</a:t>
            </a:r>
          </a:p>
        </p:txBody>
      </p:sp>
      <p:sp>
        <p:nvSpPr>
          <p:cNvPr id="26" name="Content Placeholder 15"/>
          <p:cNvSpPr>
            <a:spLocks noGrp="1"/>
          </p:cNvSpPr>
          <p:nvPr>
            <p:ph sz="quarter" idx="12" hasCustomPrompt="1"/>
          </p:nvPr>
        </p:nvSpPr>
        <p:spPr>
          <a:xfrm>
            <a:off x="5330807" y="5752957"/>
            <a:ext cx="6561784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</a:lstStyle>
          <a:p>
            <a:pPr lvl="0"/>
            <a:r>
              <a:rPr lang="en-US" dirty="0"/>
              <a:t>Your text </a:t>
            </a:r>
          </a:p>
        </p:txBody>
      </p:sp>
    </p:spTree>
    <p:extLst>
      <p:ext uri="{BB962C8B-B14F-4D97-AF65-F5344CB8AC3E}">
        <p14:creationId xmlns:p14="http://schemas.microsoft.com/office/powerpoint/2010/main" val="9723335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>
            <a:off x="19191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3781778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5040490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rne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 userDrawn="1"/>
        </p:nvSpPr>
        <p:spPr>
          <a:xfrm flipH="1">
            <a:off x="8410222" y="0"/>
            <a:ext cx="358986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 userDrawn="1"/>
        </p:nvSpPr>
        <p:spPr>
          <a:xfrm>
            <a:off x="0" y="0"/>
            <a:ext cx="841022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 flipH="1">
            <a:off x="11521834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 flipH="1">
            <a:off x="10935095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1465688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4044234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874842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344229" y="0"/>
            <a:ext cx="484777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28166370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0213388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6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8" y="6382206"/>
            <a:ext cx="556243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903029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869650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38876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5208260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2735132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30823084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3902700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ar-S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r-S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8296888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ar-S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ar-S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3C9E9F-AD4D-4254-B600-7E9E07D596F6}" type="datetimeFigureOut">
              <a:rPr lang="ar-SA" smtClean="0"/>
              <a:t>09/07/44</a:t>
            </a:fld>
            <a:endParaRPr lang="ar-S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ar-S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F2ABA-27A1-4ABB-A39F-C7C91BDF9C08}" type="slidenum">
              <a:rPr lang="ar-SA" smtClean="0"/>
              <a:t>‹#›</a:t>
            </a:fld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1558700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ar-S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9411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89">
          <p15:clr>
            <a:srgbClr val="F26B43"/>
          </p15:clr>
        </p15:guide>
        <p15:guide id="3" orient="horz" pos="4156">
          <p15:clr>
            <a:srgbClr val="F26B43"/>
          </p15:clr>
        </p15:guide>
        <p15:guide id="4" pos="749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0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svg"/><Relationship Id="rId18" Type="http://schemas.openxmlformats.org/officeDocument/2006/relationships/image" Target="../media/image25.png"/><Relationship Id="rId3" Type="http://schemas.openxmlformats.org/officeDocument/2006/relationships/notesSlide" Target="../notesSlides/notesSlide11.xml"/><Relationship Id="rId21" Type="http://schemas.openxmlformats.org/officeDocument/2006/relationships/image" Target="../media/image28.svg"/><Relationship Id="rId7" Type="http://schemas.openxmlformats.org/officeDocument/2006/relationships/image" Target="../media/image14.svg"/><Relationship Id="rId12" Type="http://schemas.openxmlformats.org/officeDocument/2006/relationships/image" Target="../media/image19.png"/><Relationship Id="rId17" Type="http://schemas.openxmlformats.org/officeDocument/2006/relationships/image" Target="../media/image24.svg"/><Relationship Id="rId25" Type="http://schemas.openxmlformats.org/officeDocument/2006/relationships/image" Target="../media/image32.png"/><Relationship Id="rId2" Type="http://schemas.openxmlformats.org/officeDocument/2006/relationships/slideLayout" Target="../slideLayouts/slideLayout16.xml"/><Relationship Id="rId16" Type="http://schemas.openxmlformats.org/officeDocument/2006/relationships/image" Target="../media/image23.png"/><Relationship Id="rId20" Type="http://schemas.openxmlformats.org/officeDocument/2006/relationships/image" Target="../media/image27.png"/><Relationship Id="rId1" Type="http://schemas.openxmlformats.org/officeDocument/2006/relationships/tags" Target="../tags/tag21.xml"/><Relationship Id="rId6" Type="http://schemas.openxmlformats.org/officeDocument/2006/relationships/image" Target="../media/image13.png"/><Relationship Id="rId11" Type="http://schemas.openxmlformats.org/officeDocument/2006/relationships/image" Target="../media/image18.svg"/><Relationship Id="rId24" Type="http://schemas.openxmlformats.org/officeDocument/2006/relationships/image" Target="../media/image31.png"/><Relationship Id="rId5" Type="http://schemas.openxmlformats.org/officeDocument/2006/relationships/image" Target="../media/image1.emf"/><Relationship Id="rId15" Type="http://schemas.openxmlformats.org/officeDocument/2006/relationships/image" Target="../media/image22.svg"/><Relationship Id="rId23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image" Target="../media/image26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6.svg"/><Relationship Id="rId14" Type="http://schemas.openxmlformats.org/officeDocument/2006/relationships/image" Target="../media/image21.png"/><Relationship Id="rId22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2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3.xml"/><Relationship Id="rId6" Type="http://schemas.openxmlformats.org/officeDocument/2006/relationships/image" Target="../media/image3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4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5.xml"/><Relationship Id="rId6" Type="http://schemas.openxmlformats.org/officeDocument/2006/relationships/image" Target="../media/image3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6.xml"/><Relationship Id="rId6" Type="http://schemas.openxmlformats.org/officeDocument/2006/relationships/image" Target="../media/image3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7.xml"/><Relationship Id="rId6" Type="http://schemas.openxmlformats.org/officeDocument/2006/relationships/image" Target="../media/image3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8.x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29.x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2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0.x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1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2.x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ustomXml" Target="../ink/ink1.xml"/><Relationship Id="rId3" Type="http://schemas.openxmlformats.org/officeDocument/2006/relationships/notesSlide" Target="../notesSlides/notesSlide23.xml"/><Relationship Id="rId7" Type="http://schemas.openxmlformats.org/officeDocument/2006/relationships/image" Target="../media/image45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3.x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7" Type="http://schemas.openxmlformats.org/officeDocument/2006/relationships/image" Target="../media/image4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4.x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35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26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6.xml"/><Relationship Id="rId6" Type="http://schemas.openxmlformats.org/officeDocument/2006/relationships/image" Target="../media/image50.png"/><Relationship Id="rId11" Type="http://schemas.openxmlformats.org/officeDocument/2006/relationships/image" Target="../media/image55.png"/><Relationship Id="rId5" Type="http://schemas.openxmlformats.org/officeDocument/2006/relationships/image" Target="../media/image1.emf"/><Relationship Id="rId10" Type="http://schemas.openxmlformats.org/officeDocument/2006/relationships/image" Target="../media/image54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3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57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7.xml"/><Relationship Id="rId6" Type="http://schemas.openxmlformats.org/officeDocument/2006/relationships/image" Target="../media/image5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8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39.x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7" Type="http://schemas.openxmlformats.org/officeDocument/2006/relationships/image" Target="../media/image60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0.x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1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2.xml"/><Relationship Id="rId6" Type="http://schemas.openxmlformats.org/officeDocument/2006/relationships/image" Target="../media/image6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3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3.xml"/><Relationship Id="rId6" Type="http://schemas.openxmlformats.org/officeDocument/2006/relationships/image" Target="../media/image6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4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4.xml"/><Relationship Id="rId6" Type="http://schemas.openxmlformats.org/officeDocument/2006/relationships/image" Target="../media/image6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5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6.xml"/><Relationship Id="rId6" Type="http://schemas.openxmlformats.org/officeDocument/2006/relationships/image" Target="../media/image6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7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notesSlide" Target="../notesSlides/notesSlide38.xml"/><Relationship Id="rId7" Type="http://schemas.openxmlformats.org/officeDocument/2006/relationships/image" Target="../media/image6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8.xml"/><Relationship Id="rId6" Type="http://schemas.openxmlformats.org/officeDocument/2006/relationships/image" Target="../media/image6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9.xml"/><Relationship Id="rId7" Type="http://schemas.openxmlformats.org/officeDocument/2006/relationships/image" Target="../media/image69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49.xml"/><Relationship Id="rId6" Type="http://schemas.openxmlformats.org/officeDocument/2006/relationships/image" Target="../media/image6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notesSlide" Target="../notesSlides/notesSlide40.xml"/><Relationship Id="rId7" Type="http://schemas.openxmlformats.org/officeDocument/2006/relationships/image" Target="../media/image7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0.xml"/><Relationship Id="rId6" Type="http://schemas.openxmlformats.org/officeDocument/2006/relationships/image" Target="../media/image7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42.xml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2.xml"/><Relationship Id="rId6" Type="http://schemas.openxmlformats.org/officeDocument/2006/relationships/image" Target="../media/image50.png"/><Relationship Id="rId11" Type="http://schemas.openxmlformats.org/officeDocument/2006/relationships/image" Target="../media/image74.png"/><Relationship Id="rId5" Type="http://schemas.openxmlformats.org/officeDocument/2006/relationships/image" Target="../media/image1.emf"/><Relationship Id="rId10" Type="http://schemas.openxmlformats.org/officeDocument/2006/relationships/image" Target="../media/image73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53.svg"/></Relationships>
</file>

<file path=ppt/slides/_rels/slide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notesSlide" Target="../notesSlides/notesSlide43.xml"/><Relationship Id="rId7" Type="http://schemas.openxmlformats.org/officeDocument/2006/relationships/image" Target="../media/image76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3.xml"/><Relationship Id="rId6" Type="http://schemas.openxmlformats.org/officeDocument/2006/relationships/image" Target="../media/image7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4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5.xml"/><Relationship Id="rId7" Type="http://schemas.openxmlformats.org/officeDocument/2006/relationships/image" Target="../media/image78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5.xml"/><Relationship Id="rId6" Type="http://schemas.openxmlformats.org/officeDocument/2006/relationships/hyperlink" Target="https://youtu.be/9blUbDQhju8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5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7.xml"/><Relationship Id="rId6" Type="http://schemas.openxmlformats.org/officeDocument/2006/relationships/image" Target="../media/image7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5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7.x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8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9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260631"/>
            <a:ext cx="4243980" cy="13542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مراجعة الدرس السابق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l-PL" sz="19900" b="1" i="0" u="none" strike="noStrike" kern="0" cap="all" spc="0" normalizeH="0" baseline="0" noProof="0" dirty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Source Sans Pro Black" charset="0"/>
                <a:ea typeface="Source Sans Pro Black" charset="0"/>
                <a:cs typeface="Source Sans Pro Black" charset="0"/>
              </a:rPr>
              <a:t>1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1468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27181141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3992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قراءة الصور </a:t>
            </a:r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كتشفي مراحل إنشاء موقع إلكتروني ؟</a:t>
            </a:r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559207" y="2180430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" name="رسم 2" descr="رأس بتروس مع تعبئة خالصة">
            <a:extLst>
              <a:ext uri="{FF2B5EF4-FFF2-40B4-BE49-F238E27FC236}">
                <a16:creationId xmlns:a16="http://schemas.microsoft.com/office/drawing/2014/main" id="{D4AE5F6B-BBBB-8FEE-80EC-A9C1FFD6537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453820" y="442912"/>
            <a:ext cx="914400" cy="914400"/>
          </a:xfrm>
          <a:prstGeom prst="rect">
            <a:avLst/>
          </a:prstGeom>
        </p:spPr>
      </p:pic>
      <p:pic>
        <p:nvPicPr>
          <p:cNvPr id="6" name="رسم 5" descr="فكرة جيدة مع تعبئة خالصة">
            <a:extLst>
              <a:ext uri="{FF2B5EF4-FFF2-40B4-BE49-F238E27FC236}">
                <a16:creationId xmlns:a16="http://schemas.microsoft.com/office/drawing/2014/main" id="{7BBF3FFA-08D2-D14E-EB5C-D8C0E6E41E2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39420" y="464343"/>
            <a:ext cx="914400" cy="914400"/>
          </a:xfrm>
          <a:prstGeom prst="rect">
            <a:avLst/>
          </a:prstGeom>
        </p:spPr>
      </p:pic>
      <p:pic>
        <p:nvPicPr>
          <p:cNvPr id="10" name="رسم 9" descr="هندسة معمارية مع تعبئة خالصة">
            <a:extLst>
              <a:ext uri="{FF2B5EF4-FFF2-40B4-BE49-F238E27FC236}">
                <a16:creationId xmlns:a16="http://schemas.microsoft.com/office/drawing/2014/main" id="{E85ACE6E-A8E7-9A2F-D02D-5FDD8FEDAAD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539420" y="2287478"/>
            <a:ext cx="914400" cy="914400"/>
          </a:xfrm>
          <a:prstGeom prst="rect">
            <a:avLst/>
          </a:prstGeom>
        </p:spPr>
      </p:pic>
      <p:pic>
        <p:nvPicPr>
          <p:cNvPr id="12" name="رسم 11" descr="مخطط مع تعبئة خالصة">
            <a:extLst>
              <a:ext uri="{FF2B5EF4-FFF2-40B4-BE49-F238E27FC236}">
                <a16:creationId xmlns:a16="http://schemas.microsoft.com/office/drawing/2014/main" id="{D6C40D73-FB99-9A17-C401-C7A7E968C56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427607" y="2320360"/>
            <a:ext cx="914400" cy="914400"/>
          </a:xfrm>
          <a:prstGeom prst="rect">
            <a:avLst/>
          </a:prstGeom>
        </p:spPr>
      </p:pic>
      <p:pic>
        <p:nvPicPr>
          <p:cNvPr id="14" name="رسم 13" descr="مبرمج انثي مع تعبئة خالصة">
            <a:extLst>
              <a:ext uri="{FF2B5EF4-FFF2-40B4-BE49-F238E27FC236}">
                <a16:creationId xmlns:a16="http://schemas.microsoft.com/office/drawing/2014/main" id="{B9186DB8-4C3B-46EA-8A26-4A1C791EEDE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78027" y="3894083"/>
            <a:ext cx="914400" cy="914400"/>
          </a:xfrm>
          <a:prstGeom prst="rect">
            <a:avLst/>
          </a:prstGeom>
        </p:spPr>
      </p:pic>
      <p:pic>
        <p:nvPicPr>
          <p:cNvPr id="16" name="رسم 15" descr="ذكر المبرمجين مع تعبئة خالصة">
            <a:extLst>
              <a:ext uri="{FF2B5EF4-FFF2-40B4-BE49-F238E27FC236}">
                <a16:creationId xmlns:a16="http://schemas.microsoft.com/office/drawing/2014/main" id="{E6466B33-BFA2-A998-7B8C-981199FB9325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427607" y="3894083"/>
            <a:ext cx="914400" cy="914400"/>
          </a:xfrm>
          <a:prstGeom prst="rect">
            <a:avLst/>
          </a:prstGeom>
        </p:spPr>
      </p:pic>
      <p:pic>
        <p:nvPicPr>
          <p:cNvPr id="20" name="رسم 19" descr="العمل من شبكه Wi-fi الرئيسية مع تعبئة خالصة">
            <a:extLst>
              <a:ext uri="{FF2B5EF4-FFF2-40B4-BE49-F238E27FC236}">
                <a16:creationId xmlns:a16="http://schemas.microsoft.com/office/drawing/2014/main" id="{A3B83093-F754-914E-383B-A887A215B8DB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6453188" y="5467806"/>
            <a:ext cx="914400" cy="914400"/>
          </a:xfrm>
          <a:prstGeom prst="rect">
            <a:avLst/>
          </a:prstGeom>
        </p:spPr>
      </p:pic>
      <p:pic>
        <p:nvPicPr>
          <p:cNvPr id="22" name="رسم 21" descr="الإنترنت مع تعبئة خالصة">
            <a:extLst>
              <a:ext uri="{FF2B5EF4-FFF2-40B4-BE49-F238E27FC236}">
                <a16:creationId xmlns:a16="http://schemas.microsoft.com/office/drawing/2014/main" id="{2088EE98-3FE9-F3AE-BB6D-863E9E73B2F2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7427607" y="5500688"/>
            <a:ext cx="914400" cy="914400"/>
          </a:xfrm>
          <a:prstGeom prst="rect">
            <a:avLst/>
          </a:prstGeom>
        </p:spPr>
      </p:pic>
      <p:pic>
        <p:nvPicPr>
          <p:cNvPr id="24" name="صورة 23">
            <a:extLst>
              <a:ext uri="{FF2B5EF4-FFF2-40B4-BE49-F238E27FC236}">
                <a16:creationId xmlns:a16="http://schemas.microsoft.com/office/drawing/2014/main" id="{DE1A7C62-775C-25BC-13F3-2A0317F23487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89522" y="164305"/>
            <a:ext cx="5648325" cy="1514475"/>
          </a:xfrm>
          <a:prstGeom prst="rect">
            <a:avLst/>
          </a:prstGeom>
        </p:spPr>
      </p:pic>
      <p:pic>
        <p:nvPicPr>
          <p:cNvPr id="26" name="صورة 25">
            <a:extLst>
              <a:ext uri="{FF2B5EF4-FFF2-40B4-BE49-F238E27FC236}">
                <a16:creationId xmlns:a16="http://schemas.microsoft.com/office/drawing/2014/main" id="{0079F0E1-27A9-5504-DC1F-F3AC640F7F1F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410082" y="1917864"/>
            <a:ext cx="5648325" cy="1381125"/>
          </a:xfrm>
          <a:prstGeom prst="rect">
            <a:avLst/>
          </a:prstGeom>
        </p:spPr>
      </p:pic>
      <p:pic>
        <p:nvPicPr>
          <p:cNvPr id="28" name="صورة 27">
            <a:extLst>
              <a:ext uri="{FF2B5EF4-FFF2-40B4-BE49-F238E27FC236}">
                <a16:creationId xmlns:a16="http://schemas.microsoft.com/office/drawing/2014/main" id="{5FCB29E3-22F6-352F-FEFF-3F5A2C792568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76104" y="3538073"/>
            <a:ext cx="5648325" cy="1514476"/>
          </a:xfrm>
          <a:prstGeom prst="rect">
            <a:avLst/>
          </a:prstGeom>
        </p:spPr>
      </p:pic>
      <p:pic>
        <p:nvPicPr>
          <p:cNvPr id="30" name="صورة 29">
            <a:extLst>
              <a:ext uri="{FF2B5EF4-FFF2-40B4-BE49-F238E27FC236}">
                <a16:creationId xmlns:a16="http://schemas.microsoft.com/office/drawing/2014/main" id="{41A0BC02-7A51-A395-A3E9-EBED31AADB10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76104" y="5300758"/>
            <a:ext cx="5638800" cy="145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07341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8682608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3992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قراءة الصور </a:t>
            </a:r>
          </a:p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. ..</a:t>
            </a:r>
          </a:p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اكتشفي أهم الخصائص التي ينبغي توافرها في الموقع الإلكتروني </a:t>
            </a:r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587782" y="285908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graphicFrame>
        <p:nvGraphicFramePr>
          <p:cNvPr id="2" name="جدول 2">
            <a:extLst>
              <a:ext uri="{FF2B5EF4-FFF2-40B4-BE49-F238E27FC236}">
                <a16:creationId xmlns:a16="http://schemas.microsoft.com/office/drawing/2014/main" id="{B418CBBB-CA4A-40A9-559B-C5C9E71493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713521"/>
              </p:ext>
            </p:extLst>
          </p:nvPr>
        </p:nvGraphicFramePr>
        <p:xfrm>
          <a:off x="1883567" y="709361"/>
          <a:ext cx="5326064" cy="4164532"/>
        </p:xfrm>
        <a:graphic>
          <a:graphicData uri="http://schemas.openxmlformats.org/drawingml/2006/table">
            <a:tbl>
              <a:tblPr rtl="1" firstRow="1" bandRow="1">
                <a:tableStyleId>{69012ECD-51FC-41F1-AA8D-1B2483CD663E}</a:tableStyleId>
              </a:tblPr>
              <a:tblGrid>
                <a:gridCol w="2663032">
                  <a:extLst>
                    <a:ext uri="{9D8B030D-6E8A-4147-A177-3AD203B41FA5}">
                      <a16:colId xmlns:a16="http://schemas.microsoft.com/office/drawing/2014/main" val="702305518"/>
                    </a:ext>
                  </a:extLst>
                </a:gridCol>
                <a:gridCol w="2663032">
                  <a:extLst>
                    <a:ext uri="{9D8B030D-6E8A-4147-A177-3AD203B41FA5}">
                      <a16:colId xmlns:a16="http://schemas.microsoft.com/office/drawing/2014/main" val="2625977529"/>
                    </a:ext>
                  </a:extLst>
                </a:gridCol>
              </a:tblGrid>
              <a:tr h="812533">
                <a:tc>
                  <a:txBody>
                    <a:bodyPr/>
                    <a:lstStyle/>
                    <a:p>
                      <a:pPr algn="ctr" rtl="1"/>
                      <a:r>
                        <a:rPr lang="ar-SA" sz="2800" dirty="0"/>
                        <a:t>الصورة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800" dirty="0"/>
                        <a:t>الخاصية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81568254"/>
                  </a:ext>
                </a:extLst>
              </a:tr>
              <a:tr h="812533"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50508183"/>
                  </a:ext>
                </a:extLst>
              </a:tr>
              <a:tr h="812533"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97608416"/>
                  </a:ext>
                </a:extLst>
              </a:tr>
              <a:tr h="812533">
                <a:tc>
                  <a:txBody>
                    <a:bodyPr/>
                    <a:lstStyle/>
                    <a:p>
                      <a:pPr algn="ctr" rtl="1"/>
                      <a:endParaRPr lang="ar-SA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3038929"/>
                  </a:ext>
                </a:extLst>
              </a:tr>
              <a:tr h="812533"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  <a:p>
                      <a:pPr algn="ctr" rtl="1"/>
                      <a:endParaRPr lang="ar-SA" dirty="0"/>
                    </a:p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1"/>
                      <a:endParaRPr lang="ar-S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91335483"/>
                  </a:ext>
                </a:extLst>
              </a:tr>
            </a:tbl>
          </a:graphicData>
        </a:graphic>
      </p:graphicFrame>
      <p:pic>
        <p:nvPicPr>
          <p:cNvPr id="5" name="صورة 4">
            <a:extLst>
              <a:ext uri="{FF2B5EF4-FFF2-40B4-BE49-F238E27FC236}">
                <a16:creationId xmlns:a16="http://schemas.microsoft.com/office/drawing/2014/main" id="{30760676-713D-D91D-FE61-A2E2EA22F0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89478" y="1550282"/>
            <a:ext cx="1178568" cy="773435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26EE9A99-0443-AB0D-21A7-4EEC439BB58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48846" y="2354748"/>
            <a:ext cx="1290638" cy="710138"/>
          </a:xfrm>
          <a:prstGeom prst="rect">
            <a:avLst/>
          </a:prstGeom>
        </p:spPr>
      </p:pic>
      <p:pic>
        <p:nvPicPr>
          <p:cNvPr id="12" name="صورة 11">
            <a:extLst>
              <a:ext uri="{FF2B5EF4-FFF2-40B4-BE49-F238E27FC236}">
                <a16:creationId xmlns:a16="http://schemas.microsoft.com/office/drawing/2014/main" id="{7631BE70-33F7-4FD7-8717-E64FDC61A22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48846" y="3204429"/>
            <a:ext cx="1219200" cy="715963"/>
          </a:xfrm>
          <a:prstGeom prst="rect">
            <a:avLst/>
          </a:prstGeom>
        </p:spPr>
      </p:pic>
      <p:pic>
        <p:nvPicPr>
          <p:cNvPr id="14" name="صورة 13">
            <a:extLst>
              <a:ext uri="{FF2B5EF4-FFF2-40B4-BE49-F238E27FC236}">
                <a16:creationId xmlns:a16="http://schemas.microsoft.com/office/drawing/2014/main" id="{ED56A5A1-0C02-B7A9-12B7-39814CF2D23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70263" y="4059935"/>
            <a:ext cx="1151804" cy="771525"/>
          </a:xfrm>
          <a:prstGeom prst="rect">
            <a:avLst/>
          </a:prstGeom>
        </p:spPr>
      </p:pic>
      <p:sp>
        <p:nvSpPr>
          <p:cNvPr id="15" name="مربع نص 14">
            <a:extLst>
              <a:ext uri="{FF2B5EF4-FFF2-40B4-BE49-F238E27FC236}">
                <a16:creationId xmlns:a16="http://schemas.microsoft.com/office/drawing/2014/main" id="{C30EAC38-41B8-0DAD-F1B7-F474124D09FF}"/>
              </a:ext>
            </a:extLst>
          </p:cNvPr>
          <p:cNvSpPr txBox="1"/>
          <p:nvPr/>
        </p:nvSpPr>
        <p:spPr>
          <a:xfrm>
            <a:off x="2524309" y="1693068"/>
            <a:ext cx="155120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1"/>
            <a:r>
              <a:rPr lang="ar-SA" dirty="0"/>
              <a:t>محتوى واضح</a:t>
            </a:r>
          </a:p>
        </p:txBody>
      </p:sp>
      <p:sp>
        <p:nvSpPr>
          <p:cNvPr id="16" name="مربع نص 15">
            <a:extLst>
              <a:ext uri="{FF2B5EF4-FFF2-40B4-BE49-F238E27FC236}">
                <a16:creationId xmlns:a16="http://schemas.microsoft.com/office/drawing/2014/main" id="{308F6C18-8497-26AD-9D97-5B95DD6974D2}"/>
              </a:ext>
            </a:extLst>
          </p:cNvPr>
          <p:cNvSpPr txBox="1"/>
          <p:nvPr/>
        </p:nvSpPr>
        <p:spPr>
          <a:xfrm>
            <a:off x="2483677" y="2399590"/>
            <a:ext cx="1551208" cy="646331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1"/>
            <a:r>
              <a:rPr lang="ar-SA" dirty="0"/>
              <a:t>صور ورسومات مناسبة للمحتوى </a:t>
            </a:r>
          </a:p>
        </p:txBody>
      </p:sp>
      <p:sp>
        <p:nvSpPr>
          <p:cNvPr id="17" name="مربع نص 16">
            <a:extLst>
              <a:ext uri="{FF2B5EF4-FFF2-40B4-BE49-F238E27FC236}">
                <a16:creationId xmlns:a16="http://schemas.microsoft.com/office/drawing/2014/main" id="{89453D4C-4245-E68A-A27C-AB9A727DD989}"/>
              </a:ext>
            </a:extLst>
          </p:cNvPr>
          <p:cNvSpPr txBox="1"/>
          <p:nvPr/>
        </p:nvSpPr>
        <p:spPr>
          <a:xfrm>
            <a:off x="2530938" y="3369909"/>
            <a:ext cx="1551208" cy="369332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1"/>
            <a:r>
              <a:rPr lang="ar-SA" dirty="0"/>
              <a:t>نسق لوني مناسب </a:t>
            </a:r>
          </a:p>
        </p:txBody>
      </p:sp>
      <p:sp>
        <p:nvSpPr>
          <p:cNvPr id="18" name="مربع نص 17">
            <a:extLst>
              <a:ext uri="{FF2B5EF4-FFF2-40B4-BE49-F238E27FC236}">
                <a16:creationId xmlns:a16="http://schemas.microsoft.com/office/drawing/2014/main" id="{846953B9-95F9-392A-5ACE-41A9482D9D10}"/>
              </a:ext>
            </a:extLst>
          </p:cNvPr>
          <p:cNvSpPr txBox="1"/>
          <p:nvPr/>
        </p:nvSpPr>
        <p:spPr>
          <a:xfrm>
            <a:off x="2524309" y="3950563"/>
            <a:ext cx="1551208" cy="923330"/>
          </a:xfrm>
          <a:prstGeom prst="rect">
            <a:avLst/>
          </a:prstGeom>
          <a:noFill/>
        </p:spPr>
        <p:txBody>
          <a:bodyPr wrap="square" rtlCol="1">
            <a:spAutoFit/>
          </a:bodyPr>
          <a:lstStyle/>
          <a:p>
            <a:pPr algn="ctr" rtl="1"/>
            <a:r>
              <a:rPr lang="ar-SA" dirty="0"/>
              <a:t>تنسيق مناسب للعرض على الهواتف النقالة </a:t>
            </a:r>
          </a:p>
        </p:txBody>
      </p:sp>
    </p:spTree>
    <p:extLst>
      <p:ext uri="{BB962C8B-B14F-4D97-AF65-F5344CB8AC3E}">
        <p14:creationId xmlns:p14="http://schemas.microsoft.com/office/powerpoint/2010/main" val="188116893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05812138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9703111" y="366091"/>
            <a:ext cx="2312559" cy="399233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b="1" dirty="0">
                <a:solidFill>
                  <a:srgbClr val="FFC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من خلال الصور التي أمامك اكتشفي أجزاء صفحة الويب التالية ؟</a:t>
            </a:r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694069" y="2965900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98776E2A-383E-53C4-7441-301C1259F2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2314" y="57150"/>
            <a:ext cx="6844033" cy="6858000"/>
          </a:xfrm>
          <a:prstGeom prst="rect">
            <a:avLst/>
          </a:prstGeom>
        </p:spPr>
      </p:pic>
      <p:cxnSp>
        <p:nvCxnSpPr>
          <p:cNvPr id="8" name="رابط كسهم مستقيم 7">
            <a:extLst>
              <a:ext uri="{FF2B5EF4-FFF2-40B4-BE49-F238E27FC236}">
                <a16:creationId xmlns:a16="http://schemas.microsoft.com/office/drawing/2014/main" id="{DBF06A62-8292-57D6-E735-50A4AB8594C0}"/>
              </a:ext>
            </a:extLst>
          </p:cNvPr>
          <p:cNvCxnSpPr/>
          <p:nvPr/>
        </p:nvCxnSpPr>
        <p:spPr>
          <a:xfrm>
            <a:off x="6779419" y="1007269"/>
            <a:ext cx="928687" cy="0"/>
          </a:xfrm>
          <a:prstGeom prst="straightConnector1">
            <a:avLst/>
          </a:prstGeom>
          <a:ln w="889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رابط كسهم مستقيم 10">
            <a:extLst>
              <a:ext uri="{FF2B5EF4-FFF2-40B4-BE49-F238E27FC236}">
                <a16:creationId xmlns:a16="http://schemas.microsoft.com/office/drawing/2014/main" id="{F6978148-C46E-C294-19E3-40E400A93960}"/>
              </a:ext>
            </a:extLst>
          </p:cNvPr>
          <p:cNvCxnSpPr/>
          <p:nvPr/>
        </p:nvCxnSpPr>
        <p:spPr>
          <a:xfrm>
            <a:off x="6877209" y="6207918"/>
            <a:ext cx="928687" cy="0"/>
          </a:xfrm>
          <a:prstGeom prst="straightConnector1">
            <a:avLst/>
          </a:prstGeom>
          <a:ln w="889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قوس كبير أيمن 12">
            <a:extLst>
              <a:ext uri="{FF2B5EF4-FFF2-40B4-BE49-F238E27FC236}">
                <a16:creationId xmlns:a16="http://schemas.microsoft.com/office/drawing/2014/main" id="{FD425932-82C7-D47E-D270-19E46E6BB047}"/>
              </a:ext>
            </a:extLst>
          </p:cNvPr>
          <p:cNvSpPr/>
          <p:nvPr/>
        </p:nvSpPr>
        <p:spPr>
          <a:xfrm>
            <a:off x="7161154" y="1439466"/>
            <a:ext cx="718402" cy="4093367"/>
          </a:xfrm>
          <a:prstGeom prst="rightBrac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15" name="مستطيل: زوايا مستديرة 14">
            <a:extLst>
              <a:ext uri="{FF2B5EF4-FFF2-40B4-BE49-F238E27FC236}">
                <a16:creationId xmlns:a16="http://schemas.microsoft.com/office/drawing/2014/main" id="{71A50404-16E9-3AEA-1CA0-AEE559D8FB23}"/>
              </a:ext>
            </a:extLst>
          </p:cNvPr>
          <p:cNvSpPr/>
          <p:nvPr/>
        </p:nvSpPr>
        <p:spPr>
          <a:xfrm>
            <a:off x="7879556" y="5897732"/>
            <a:ext cx="1814513" cy="550068"/>
          </a:xfrm>
          <a:prstGeom prst="roundRect">
            <a:avLst/>
          </a:prstGeom>
          <a:solidFill>
            <a:schemeClr val="accent1">
              <a:alpha val="4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3200" b="1" dirty="0">
                <a:solidFill>
                  <a:srgbClr val="C00000"/>
                </a:solidFill>
              </a:rPr>
              <a:t>التذييل </a:t>
            </a:r>
          </a:p>
        </p:txBody>
      </p:sp>
      <p:sp>
        <p:nvSpPr>
          <p:cNvPr id="17" name="مستطيل: زوايا مستديرة 16">
            <a:extLst>
              <a:ext uri="{FF2B5EF4-FFF2-40B4-BE49-F238E27FC236}">
                <a16:creationId xmlns:a16="http://schemas.microsoft.com/office/drawing/2014/main" id="{7690F34A-483F-DC18-DBF3-BC967ECEC302}"/>
              </a:ext>
            </a:extLst>
          </p:cNvPr>
          <p:cNvSpPr/>
          <p:nvPr/>
        </p:nvSpPr>
        <p:spPr>
          <a:xfrm>
            <a:off x="8003381" y="3211115"/>
            <a:ext cx="1814513" cy="550068"/>
          </a:xfrm>
          <a:prstGeom prst="roundRect">
            <a:avLst/>
          </a:prstGeom>
          <a:solidFill>
            <a:schemeClr val="accent1">
              <a:alpha val="4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2000" b="1" dirty="0">
                <a:solidFill>
                  <a:srgbClr val="C00000"/>
                </a:solidFill>
              </a:rPr>
              <a:t>المحتوى الرئيس</a:t>
            </a:r>
          </a:p>
        </p:txBody>
      </p:sp>
      <p:sp>
        <p:nvSpPr>
          <p:cNvPr id="19" name="مستطيل: زوايا مستديرة 18">
            <a:extLst>
              <a:ext uri="{FF2B5EF4-FFF2-40B4-BE49-F238E27FC236}">
                <a16:creationId xmlns:a16="http://schemas.microsoft.com/office/drawing/2014/main" id="{EDF88455-08AA-2F09-90E6-FB67ECA4EC81}"/>
              </a:ext>
            </a:extLst>
          </p:cNvPr>
          <p:cNvSpPr/>
          <p:nvPr/>
        </p:nvSpPr>
        <p:spPr>
          <a:xfrm>
            <a:off x="7786205" y="728412"/>
            <a:ext cx="1814513" cy="550068"/>
          </a:xfrm>
          <a:prstGeom prst="roundRect">
            <a:avLst/>
          </a:prstGeom>
          <a:solidFill>
            <a:schemeClr val="accent1">
              <a:alpha val="49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2400" b="1" dirty="0">
                <a:solidFill>
                  <a:srgbClr val="C00000"/>
                </a:solidFill>
              </a:rPr>
              <a:t>رأس الصفحة </a:t>
            </a:r>
          </a:p>
        </p:txBody>
      </p:sp>
    </p:spTree>
    <p:extLst>
      <p:ext uri="{BB962C8B-B14F-4D97-AF65-F5344CB8AC3E}">
        <p14:creationId xmlns:p14="http://schemas.microsoft.com/office/powerpoint/2010/main" val="244768337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570EEAD3-C4FF-7004-D476-B67DC75CA7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21619" y="92868"/>
            <a:ext cx="6784846" cy="6657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317430"/>
      </p:ext>
    </p:extLst>
  </p:cSld>
  <p:clrMapOvr>
    <a:masterClrMapping/>
  </p:clrMapOvr>
  <p:transition spd="slow">
    <p:wip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7D36DB71-C92B-6310-7112-336BBCCC093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898" y="1994443"/>
            <a:ext cx="7966023" cy="2806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4920"/>
      </p:ext>
    </p:extLst>
  </p:cSld>
  <p:clrMapOvr>
    <a:masterClrMapping/>
  </p:clrMapOvr>
  <p:transition spd="slow">
    <p:wip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741C2DCD-7E49-2650-E55D-EC168B6C479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9890" y="107156"/>
            <a:ext cx="7886648" cy="6643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953246"/>
      </p:ext>
    </p:extLst>
  </p:cSld>
  <p:clrMapOvr>
    <a:masterClrMapping/>
  </p:clrMapOvr>
  <p:transition spd="slow"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58C09E54-D61E-C3B7-F7E5-2A9C85CC184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2938" y="54269"/>
            <a:ext cx="7337951" cy="6749462"/>
          </a:xfrm>
          <a:prstGeom prst="rect">
            <a:avLst/>
          </a:prstGeom>
        </p:spPr>
      </p:pic>
      <p:sp>
        <p:nvSpPr>
          <p:cNvPr id="6" name="مستطيل 5">
            <a:extLst>
              <a:ext uri="{FF2B5EF4-FFF2-40B4-BE49-F238E27FC236}">
                <a16:creationId xmlns:a16="http://schemas.microsoft.com/office/drawing/2014/main" id="{9598EB21-BBF4-96D0-E750-A903838ABD69}"/>
              </a:ext>
            </a:extLst>
          </p:cNvPr>
          <p:cNvSpPr/>
          <p:nvPr/>
        </p:nvSpPr>
        <p:spPr>
          <a:xfrm>
            <a:off x="1014413" y="907256"/>
            <a:ext cx="1714500" cy="242888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8" name="مستطيل 7">
            <a:extLst>
              <a:ext uri="{FF2B5EF4-FFF2-40B4-BE49-F238E27FC236}">
                <a16:creationId xmlns:a16="http://schemas.microsoft.com/office/drawing/2014/main" id="{28029784-A887-D538-E224-6217233C50B7}"/>
              </a:ext>
            </a:extLst>
          </p:cNvPr>
          <p:cNvSpPr/>
          <p:nvPr/>
        </p:nvSpPr>
        <p:spPr>
          <a:xfrm>
            <a:off x="1014413" y="2967829"/>
            <a:ext cx="1714500" cy="242888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9" name="مستطيل 8">
            <a:extLst>
              <a:ext uri="{FF2B5EF4-FFF2-40B4-BE49-F238E27FC236}">
                <a16:creationId xmlns:a16="http://schemas.microsoft.com/office/drawing/2014/main" id="{E7236630-23A1-7244-563A-BAF806330F66}"/>
              </a:ext>
            </a:extLst>
          </p:cNvPr>
          <p:cNvSpPr/>
          <p:nvPr/>
        </p:nvSpPr>
        <p:spPr>
          <a:xfrm>
            <a:off x="1014413" y="4063704"/>
            <a:ext cx="1714500" cy="242888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CB58A396-7381-83E7-BDCD-AB6DF8853F1D}"/>
              </a:ext>
            </a:extLst>
          </p:cNvPr>
          <p:cNvSpPr/>
          <p:nvPr/>
        </p:nvSpPr>
        <p:spPr>
          <a:xfrm>
            <a:off x="1014413" y="6425464"/>
            <a:ext cx="1714500" cy="242888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3743341306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>
          <a:xfrm>
            <a:off x="0" y="-8549"/>
            <a:ext cx="12192000" cy="6866548"/>
          </a:xfrm>
        </p:spPr>
      </p:pic>
      <p:sp>
        <p:nvSpPr>
          <p:cNvPr id="2" name="Rectangle 1"/>
          <p:cNvSpPr/>
          <p:nvPr/>
        </p:nvSpPr>
        <p:spPr>
          <a:xfrm>
            <a:off x="0" y="-8548"/>
            <a:ext cx="12192000" cy="6866548"/>
          </a:xfrm>
          <a:prstGeom prst="rect">
            <a:avLst/>
          </a:prstGeom>
          <a:solidFill>
            <a:srgbClr val="262626">
              <a:alpha val="2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762956" y="2429579"/>
            <a:ext cx="3264174" cy="647892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4688342" y="2454461"/>
            <a:ext cx="3261026" cy="645761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8369093" y="3180213"/>
            <a:ext cx="3709971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9040594" y="2469569"/>
            <a:ext cx="3129378" cy="72505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1218328" y="251346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لث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graphicFrame>
        <p:nvGraphicFramePr>
          <p:cNvPr id="31" name="عنصر نائب للمحتوى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6501747"/>
              </p:ext>
            </p:extLst>
          </p:nvPr>
        </p:nvGraphicFramePr>
        <p:xfrm>
          <a:off x="302211" y="631674"/>
          <a:ext cx="11431240" cy="146304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857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رقم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endParaRPr lang="ar-SA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وض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راجعة الدرس السابق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دة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2د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ن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r" rtl="1"/>
                      <a:r>
                        <a:rPr lang="ar-SA" sz="2400" dirty="0"/>
                        <a:t>فردي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950"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لاستراتيجية التعلمية النشطة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ستراتيجية اكتشف الخطأ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Content Placeholder 15"/>
          <p:cNvSpPr txBox="1">
            <a:spLocks/>
          </p:cNvSpPr>
          <p:nvPr/>
        </p:nvSpPr>
        <p:spPr>
          <a:xfrm>
            <a:off x="9040594" y="2561899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ar-SA" altLang="ko-KR" sz="2800" dirty="0">
                <a:solidFill>
                  <a:prstClr val="white">
                    <a:lumMod val="95000"/>
                  </a:prstClr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سؤال الأول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4" name="Content Placeholder 15"/>
          <p:cNvSpPr txBox="1">
            <a:spLocks/>
          </p:cNvSpPr>
          <p:nvPr/>
        </p:nvSpPr>
        <p:spPr>
          <a:xfrm>
            <a:off x="4948526" y="253808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ني 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645435" y="3194625"/>
            <a:ext cx="3489572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4000" b="1" kern="0" dirty="0" err="1">
              <a:solidFill>
                <a:srgbClr val="FFC000"/>
              </a:solidFill>
              <a:latin typeface="Century Gothic" panose="020B0502020202020204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27625" y="3194625"/>
            <a:ext cx="3783724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3600" b="1" kern="0" dirty="0">
              <a:solidFill>
                <a:srgbClr val="FFC000"/>
              </a:solidFill>
              <a:latin typeface="Century Gothic" panose="020B0502020202020204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25" y="1167931"/>
            <a:ext cx="1306673" cy="390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702139" y="3459967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000" b="1" dirty="0"/>
              <a:t> </a:t>
            </a:r>
            <a:r>
              <a:rPr lang="en-US" sz="2000" b="1" dirty="0"/>
              <a:t>&lt;p style=“</a:t>
            </a:r>
            <a:r>
              <a:rPr lang="en-US" sz="2000" b="1" dirty="0" err="1"/>
              <a:t>color:green</a:t>
            </a:r>
            <a:r>
              <a:rPr lang="en-US" sz="2000" b="1" dirty="0"/>
              <a:t>”&gt;</a:t>
            </a:r>
          </a:p>
          <a:p>
            <a:pPr algn="ctr"/>
            <a:endParaRPr lang="en-US" sz="2000" b="1" dirty="0"/>
          </a:p>
          <a:p>
            <a:pPr algn="ctr"/>
            <a:r>
              <a:rPr lang="ar-SA" sz="2000" b="1" dirty="0"/>
              <a:t>مثال لكتابة سطر برمجي للتنسيق باستخدام صفحات الأنماط الخارجية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80396" y="3424724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خاصية زخرفة النص</a:t>
            </a:r>
          </a:p>
          <a:p>
            <a:pPr algn="ctr"/>
            <a:r>
              <a:rPr lang="en-US" sz="2800" b="1" dirty="0"/>
              <a:t>Text-decoration</a:t>
            </a:r>
          </a:p>
          <a:p>
            <a:pPr algn="ctr"/>
            <a:r>
              <a:rPr lang="ar-SA" sz="2800" b="1" dirty="0"/>
              <a:t>لها عدة تأثيرات منها </a:t>
            </a:r>
          </a:p>
          <a:p>
            <a:pPr algn="ctr"/>
            <a:r>
              <a:rPr lang="en-US" sz="2800" b="1" dirty="0"/>
              <a:t>Blink</a:t>
            </a:r>
            <a:r>
              <a:rPr lang="ar-SA" sz="2800" b="1" dirty="0"/>
              <a:t> وتعني </a:t>
            </a:r>
          </a:p>
          <a:p>
            <a:pPr algn="ctr"/>
            <a:r>
              <a:rPr lang="ar-SA" sz="2800" b="1" dirty="0"/>
              <a:t>إضافة خط أعلى النص </a:t>
            </a:r>
          </a:p>
          <a:p>
            <a:pPr algn="ctr"/>
            <a:endParaRPr lang="ar-SA" sz="2800" b="1" dirty="0"/>
          </a:p>
        </p:txBody>
      </p:sp>
      <p:sp>
        <p:nvSpPr>
          <p:cNvPr id="22" name="Rectangle 21"/>
          <p:cNvSpPr/>
          <p:nvPr/>
        </p:nvSpPr>
        <p:spPr>
          <a:xfrm>
            <a:off x="4851130" y="3459968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خاصية اللون في </a:t>
            </a:r>
            <a:r>
              <a:rPr lang="ar-SA" sz="2800" b="1" dirty="0"/>
              <a:t>صفحات التنسيق النمطي </a:t>
            </a:r>
            <a:endParaRPr lang="ar-SA" sz="3200" b="1" dirty="0"/>
          </a:p>
          <a:p>
            <a:pPr algn="ctr"/>
            <a:r>
              <a:rPr lang="en-US" sz="3200" b="1" dirty="0" err="1"/>
              <a:t>css</a:t>
            </a:r>
            <a:endParaRPr lang="ar-SA" sz="3200" b="1" dirty="0"/>
          </a:p>
          <a:p>
            <a:pPr algn="ctr"/>
            <a:r>
              <a:rPr lang="ar-SA" sz="3200" b="1" dirty="0"/>
              <a:t>تحدد بأربعة طرق</a:t>
            </a:r>
          </a:p>
        </p:txBody>
      </p:sp>
    </p:spTree>
    <p:extLst>
      <p:ext uri="{BB962C8B-B14F-4D97-AF65-F5344CB8AC3E}">
        <p14:creationId xmlns:p14="http://schemas.microsoft.com/office/powerpoint/2010/main" val="12921927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5" grpId="0" animBg="1"/>
      <p:bldP spid="66" grpId="0" animBg="1"/>
      <p:bldP spid="67" grpId="0" animBg="1"/>
      <p:bldP spid="15" grpId="0"/>
      <p:bldP spid="32" grpId="0"/>
      <p:bldP spid="34" grpId="0"/>
      <p:bldP spid="35" grpId="0" animBg="1"/>
      <p:bldP spid="3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7BB3958F-07D2-01F7-DA35-5467171ACF8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444" y="82152"/>
            <a:ext cx="7387211" cy="6693695"/>
          </a:xfrm>
          <a:prstGeom prst="rect">
            <a:avLst/>
          </a:prstGeom>
        </p:spPr>
      </p:pic>
      <p:sp>
        <p:nvSpPr>
          <p:cNvPr id="6" name="مستطيل 5">
            <a:extLst>
              <a:ext uri="{FF2B5EF4-FFF2-40B4-BE49-F238E27FC236}">
                <a16:creationId xmlns:a16="http://schemas.microsoft.com/office/drawing/2014/main" id="{610A5B54-F101-2BF6-F10F-4FA5025B7786}"/>
              </a:ext>
            </a:extLst>
          </p:cNvPr>
          <p:cNvSpPr/>
          <p:nvPr/>
        </p:nvSpPr>
        <p:spPr>
          <a:xfrm>
            <a:off x="957775" y="507206"/>
            <a:ext cx="1756849" cy="221457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8" name="مستطيل 7">
            <a:extLst>
              <a:ext uri="{FF2B5EF4-FFF2-40B4-BE49-F238E27FC236}">
                <a16:creationId xmlns:a16="http://schemas.microsoft.com/office/drawing/2014/main" id="{3CB1E74B-68A7-3C90-671D-954F5BAB605A}"/>
              </a:ext>
            </a:extLst>
          </p:cNvPr>
          <p:cNvSpPr/>
          <p:nvPr/>
        </p:nvSpPr>
        <p:spPr>
          <a:xfrm>
            <a:off x="957774" y="2069701"/>
            <a:ext cx="1756849" cy="221457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9" name="مستطيل 8">
            <a:extLst>
              <a:ext uri="{FF2B5EF4-FFF2-40B4-BE49-F238E27FC236}">
                <a16:creationId xmlns:a16="http://schemas.microsoft.com/office/drawing/2014/main" id="{3BE24C38-A4B7-8FEB-37E9-F7992CA351D4}"/>
              </a:ext>
            </a:extLst>
          </p:cNvPr>
          <p:cNvSpPr/>
          <p:nvPr/>
        </p:nvSpPr>
        <p:spPr>
          <a:xfrm>
            <a:off x="957774" y="3065063"/>
            <a:ext cx="1756849" cy="221457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  <p:sp>
        <p:nvSpPr>
          <p:cNvPr id="10" name="مستطيل 9">
            <a:extLst>
              <a:ext uri="{FF2B5EF4-FFF2-40B4-BE49-F238E27FC236}">
                <a16:creationId xmlns:a16="http://schemas.microsoft.com/office/drawing/2014/main" id="{AF93AEB9-926A-44FD-E22D-3A43B555C489}"/>
              </a:ext>
            </a:extLst>
          </p:cNvPr>
          <p:cNvSpPr/>
          <p:nvPr/>
        </p:nvSpPr>
        <p:spPr>
          <a:xfrm>
            <a:off x="942602" y="5836839"/>
            <a:ext cx="1756849" cy="221457"/>
          </a:xfrm>
          <a:prstGeom prst="rect">
            <a:avLst/>
          </a:prstGeom>
          <a:solidFill>
            <a:srgbClr val="C00000">
              <a:alpha val="38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/>
          </a:p>
        </p:txBody>
      </p:sp>
    </p:spTree>
    <p:extLst>
      <p:ext uri="{BB962C8B-B14F-4D97-AF65-F5344CB8AC3E}">
        <p14:creationId xmlns:p14="http://schemas.microsoft.com/office/powerpoint/2010/main" val="4086424720"/>
      </p:ext>
    </p:extLst>
  </p:cSld>
  <p:clrMapOvr>
    <a:masterClrMapping/>
  </p:clrMapOvr>
  <p:transition spd="slow"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37394616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396703D9-8057-AF9D-8591-7F03D12A1B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5067" y="107157"/>
            <a:ext cx="7897239" cy="6750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4177555"/>
      </p:ext>
    </p:extLst>
  </p:cSld>
  <p:clrMapOvr>
    <a:masterClrMapping/>
  </p:clrMapOvr>
  <p:transition spd="slow">
    <p:wip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439D14DD-D27D-2D8B-C27A-29508F868D5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90486"/>
            <a:ext cx="8336756" cy="2457450"/>
          </a:xfrm>
          <a:prstGeom prst="rect">
            <a:avLst/>
          </a:prstGeom>
        </p:spPr>
      </p:pic>
      <p:pic>
        <p:nvPicPr>
          <p:cNvPr id="8" name="صورة 7">
            <a:extLst>
              <a:ext uri="{FF2B5EF4-FFF2-40B4-BE49-F238E27FC236}">
                <a16:creationId xmlns:a16="http://schemas.microsoft.com/office/drawing/2014/main" id="{39300FEB-D28F-D901-847F-A3E1F295BB9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0113" y="2793207"/>
            <a:ext cx="7369968" cy="3804444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Requires="p14">
          <p:contentPart p14:bwMode="auto" r:id="rId8">
            <p14:nvContentPartPr>
              <p14:cNvPr id="10" name="حبر 9">
                <a:extLst>
                  <a:ext uri="{FF2B5EF4-FFF2-40B4-BE49-F238E27FC236}">
                    <a16:creationId xmlns:a16="http://schemas.microsoft.com/office/drawing/2014/main" id="{A1B04271-F462-0EC6-17ED-643ED7FD7006}"/>
                  </a:ext>
                </a:extLst>
              </p14:cNvPr>
              <p14:cNvContentPartPr/>
              <p14:nvPr/>
            </p14:nvContentPartPr>
            <p14:xfrm>
              <a:off x="10729676" y="3892804"/>
              <a:ext cx="360" cy="360"/>
            </p14:xfrm>
          </p:contentPart>
        </mc:Choice>
        <mc:Fallback>
          <p:pic>
            <p:nvPicPr>
              <p:cNvPr id="10" name="حبر 9">
                <a:extLst>
                  <a:ext uri="{FF2B5EF4-FFF2-40B4-BE49-F238E27FC236}">
                    <a16:creationId xmlns:a16="http://schemas.microsoft.com/office/drawing/2014/main" id="{A1B04271-F462-0EC6-17ED-643ED7FD7006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721036" y="3884164"/>
                <a:ext cx="18000" cy="18000"/>
              </a:xfrm>
              <a:prstGeom prst="rect">
                <a:avLst/>
              </a:prstGeom>
            </p:spPr>
          </p:pic>
        </mc:Fallback>
      </mc:AlternateContent>
      <p:sp>
        <p:nvSpPr>
          <p:cNvPr id="12" name="سهم: منحني 11">
            <a:extLst>
              <a:ext uri="{FF2B5EF4-FFF2-40B4-BE49-F238E27FC236}">
                <a16:creationId xmlns:a16="http://schemas.microsoft.com/office/drawing/2014/main" id="{1A6CA3B2-E8EB-29F7-58A4-F7DAB984E460}"/>
              </a:ext>
            </a:extLst>
          </p:cNvPr>
          <p:cNvSpPr/>
          <p:nvPr/>
        </p:nvSpPr>
        <p:spPr>
          <a:xfrm rot="5400000">
            <a:off x="2964943" y="1278446"/>
            <a:ext cx="2078831" cy="1865093"/>
          </a:xfrm>
          <a:prstGeom prst="bentArrow">
            <a:avLst/>
          </a:prstGeom>
          <a:solidFill>
            <a:srgbClr val="ED037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>
              <a:solidFill>
                <a:schemeClr val="tx1"/>
              </a:solidFill>
            </a:endParaRPr>
          </a:p>
        </p:txBody>
      </p:sp>
      <p:pic>
        <p:nvPicPr>
          <p:cNvPr id="14" name="صورة 13">
            <a:extLst>
              <a:ext uri="{FF2B5EF4-FFF2-40B4-BE49-F238E27FC236}">
                <a16:creationId xmlns:a16="http://schemas.microsoft.com/office/drawing/2014/main" id="{E9512459-6070-7B8D-A497-CA30AF7652C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21128" y="176213"/>
            <a:ext cx="3427086" cy="5233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3844346"/>
      </p:ext>
    </p:extLst>
  </p:cSld>
  <p:clrMapOvr>
    <a:masterClrMapping/>
  </p:clrMapOvr>
  <p:transition spd="slow">
    <p:wip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933156E4-389C-E875-7C31-66AD4A2CA96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74" y="358947"/>
            <a:ext cx="7958139" cy="5962650"/>
          </a:xfrm>
          <a:prstGeom prst="rect">
            <a:avLst/>
          </a:prstGeom>
        </p:spPr>
      </p:pic>
      <p:pic>
        <p:nvPicPr>
          <p:cNvPr id="8" name="صورة 7">
            <a:extLst>
              <a:ext uri="{FF2B5EF4-FFF2-40B4-BE49-F238E27FC236}">
                <a16:creationId xmlns:a16="http://schemas.microsoft.com/office/drawing/2014/main" id="{7793F238-3887-238D-2628-36E407A2947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484486" y="260351"/>
            <a:ext cx="3582650" cy="5776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345126"/>
      </p:ext>
    </p:extLst>
  </p:cSld>
  <p:clrMapOvr>
    <a:masterClrMapping/>
  </p:clrMapOvr>
  <p:transition spd="slow"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تقويم مرحلي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733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387963" y="153115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3510" y="1704764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20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r>
              <a:rPr lang="ar-SA" altLang="ko-KR" sz="3600" b="1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مهمة 1 : 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قومي بتنفيذ صفحة</a:t>
            </a:r>
            <a:r>
              <a:rPr lang="en-US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ونفذي المطلوب لتنسيقها  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ar-SA" altLang="ko-KR" sz="20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قسمي الصفحة الى 4 أجزاء </a:t>
            </a:r>
          </a:p>
          <a:p>
            <a:pPr algn="r" rtl="1"/>
            <a:r>
              <a:rPr lang="ar-SA" altLang="ko-KR" sz="20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باستخدام</a:t>
            </a:r>
            <a:r>
              <a:rPr lang="en-US" altLang="ko-KR" sz="1800" b="1" dirty="0">
                <a:solidFill>
                  <a:srgbClr val="00B05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&lt;div class=“”&gt;&lt;/div&gt;</a:t>
            </a:r>
            <a:endParaRPr lang="ar-SA" altLang="ko-KR" sz="1800" b="1" dirty="0">
              <a:solidFill>
                <a:srgbClr val="00B05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20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غيري الخلفية لكل قسم </a:t>
            </a:r>
          </a:p>
          <a:p>
            <a:pPr algn="r" rtl="1"/>
            <a:r>
              <a:rPr lang="ar-SA" altLang="ko-KR" sz="20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باستخدام </a:t>
            </a:r>
            <a:r>
              <a:rPr lang="en-US" altLang="ko-KR" sz="2000" dirty="0" err="1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altLang="ko-KR" sz="20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خارجي ..</a:t>
            </a:r>
            <a:endParaRPr lang="ko-KR" altLang="en-US" sz="2000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77600" y="1396788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363659" y="1362583"/>
            <a:ext cx="914400" cy="914400"/>
          </a:xfrm>
          <a:prstGeom prst="rect">
            <a:avLst/>
          </a:prstGeom>
        </p:spPr>
      </p:pic>
      <p:pic>
        <p:nvPicPr>
          <p:cNvPr id="5" name="صورة 4">
            <a:extLst>
              <a:ext uri="{FF2B5EF4-FFF2-40B4-BE49-F238E27FC236}">
                <a16:creationId xmlns:a16="http://schemas.microsoft.com/office/drawing/2014/main" id="{ACCCA0E7-7BC0-FC6E-41EA-7C1FD2C77CE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5895" y="1896970"/>
            <a:ext cx="5244562" cy="4896736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B45F040F-6F50-94A1-F511-2748393345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136912" y="2456133"/>
            <a:ext cx="2833701" cy="43195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89140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FAC5D0C0-A59B-77DE-793D-A01D0F6CC20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900" y="326065"/>
            <a:ext cx="5174179" cy="6531936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3F8F15D3-93CD-82A1-C422-2A4C1722E7C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78450" y="4980097"/>
            <a:ext cx="5667375" cy="1838325"/>
          </a:xfrm>
          <a:prstGeom prst="rect">
            <a:avLst/>
          </a:prstGeom>
        </p:spPr>
      </p:pic>
      <p:pic>
        <p:nvPicPr>
          <p:cNvPr id="13" name="صورة 12">
            <a:extLst>
              <a:ext uri="{FF2B5EF4-FFF2-40B4-BE49-F238E27FC236}">
                <a16:creationId xmlns:a16="http://schemas.microsoft.com/office/drawing/2014/main" id="{275C0CA4-E707-E1E8-441E-B06375AF221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87164" y="148855"/>
            <a:ext cx="5558662" cy="4392193"/>
          </a:xfrm>
          <a:prstGeom prst="rect">
            <a:avLst/>
          </a:prstGeom>
        </p:spPr>
      </p:pic>
      <p:sp>
        <p:nvSpPr>
          <p:cNvPr id="14" name="مستطيل 13">
            <a:extLst>
              <a:ext uri="{FF2B5EF4-FFF2-40B4-BE49-F238E27FC236}">
                <a16:creationId xmlns:a16="http://schemas.microsoft.com/office/drawing/2014/main" id="{AEA4E25F-04CC-01EC-0A09-84E570D994B4}"/>
              </a:ext>
            </a:extLst>
          </p:cNvPr>
          <p:cNvSpPr/>
          <p:nvPr/>
        </p:nvSpPr>
        <p:spPr>
          <a:xfrm>
            <a:off x="4238697" y="96980"/>
            <a:ext cx="843392" cy="361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HTML</a:t>
            </a:r>
            <a:endParaRPr lang="ar-SA" b="1" dirty="0">
              <a:solidFill>
                <a:srgbClr val="C00000"/>
              </a:solidFill>
            </a:endParaRPr>
          </a:p>
        </p:txBody>
      </p:sp>
      <p:sp>
        <p:nvSpPr>
          <p:cNvPr id="15" name="مستطيل 14">
            <a:extLst>
              <a:ext uri="{FF2B5EF4-FFF2-40B4-BE49-F238E27FC236}">
                <a16:creationId xmlns:a16="http://schemas.microsoft.com/office/drawing/2014/main" id="{3B0E8482-98F4-E154-167A-0F40FA5AB3CE}"/>
              </a:ext>
            </a:extLst>
          </p:cNvPr>
          <p:cNvSpPr/>
          <p:nvPr/>
        </p:nvSpPr>
        <p:spPr>
          <a:xfrm>
            <a:off x="9949813" y="4799343"/>
            <a:ext cx="843392" cy="361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CSS</a:t>
            </a:r>
            <a:endParaRPr lang="ar-SA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695248"/>
      </p:ext>
    </p:extLst>
  </p:cSld>
  <p:clrMapOvr>
    <a:masterClrMapping/>
  </p:clrMapOvr>
  <p:transition spd="slow"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73170857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42FD56CF-B0B3-49B7-25EB-79FE62C733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9569" y="714375"/>
            <a:ext cx="7884320" cy="5429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63668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Placeholder 2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>
          <a:xfrm>
            <a:off x="0" y="-8549"/>
            <a:ext cx="12192000" cy="6866548"/>
          </a:xfrm>
        </p:spPr>
      </p:pic>
      <p:sp>
        <p:nvSpPr>
          <p:cNvPr id="2" name="Rectangle 1"/>
          <p:cNvSpPr/>
          <p:nvPr/>
        </p:nvSpPr>
        <p:spPr>
          <a:xfrm>
            <a:off x="0" y="-8548"/>
            <a:ext cx="12192000" cy="6866548"/>
          </a:xfrm>
          <a:prstGeom prst="rect">
            <a:avLst/>
          </a:prstGeom>
          <a:solidFill>
            <a:srgbClr val="262626">
              <a:alpha val="20000"/>
            </a:srgbClr>
          </a:solidFill>
          <a:ln w="6350">
            <a:noFill/>
          </a:ln>
        </p:spPr>
        <p:style>
          <a:lnRef idx="1">
            <a:schemeClr val="accen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121920" tIns="60960" rIns="121920" bIns="6096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3" name="Freeform 62"/>
          <p:cNvSpPr/>
          <p:nvPr/>
        </p:nvSpPr>
        <p:spPr>
          <a:xfrm rot="10800000">
            <a:off x="762956" y="2429579"/>
            <a:ext cx="3264174" cy="647892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5" name="Freeform 64"/>
          <p:cNvSpPr/>
          <p:nvPr/>
        </p:nvSpPr>
        <p:spPr>
          <a:xfrm rot="10800000">
            <a:off x="4688342" y="2454461"/>
            <a:ext cx="3261026" cy="645761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8369093" y="3180213"/>
            <a:ext cx="3709971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entury Gothic" panose="020B0502020202020204"/>
            </a:endParaRPr>
          </a:p>
        </p:txBody>
      </p:sp>
      <p:sp>
        <p:nvSpPr>
          <p:cNvPr id="67" name="Freeform 66"/>
          <p:cNvSpPr/>
          <p:nvPr/>
        </p:nvSpPr>
        <p:spPr>
          <a:xfrm rot="10800000">
            <a:off x="9040594" y="2469569"/>
            <a:ext cx="3129378" cy="725056"/>
          </a:xfrm>
          <a:custGeom>
            <a:avLst/>
            <a:gdLst>
              <a:gd name="connsiteX0" fmla="*/ 2605737 w 2605737"/>
              <a:gd name="connsiteY0" fmla="*/ 1071116 h 1071116"/>
              <a:gd name="connsiteX1" fmla="*/ 0 w 2605737"/>
              <a:gd name="connsiteY1" fmla="*/ 1071116 h 1071116"/>
              <a:gd name="connsiteX2" fmla="*/ 0 w 2605737"/>
              <a:gd name="connsiteY2" fmla="*/ 144270 h 1071116"/>
              <a:gd name="connsiteX3" fmla="*/ 1181901 w 2605737"/>
              <a:gd name="connsiteY3" fmla="*/ 144270 h 1071116"/>
              <a:gd name="connsiteX4" fmla="*/ 1302869 w 2605737"/>
              <a:gd name="connsiteY4" fmla="*/ 0 h 1071116"/>
              <a:gd name="connsiteX5" fmla="*/ 1423837 w 2605737"/>
              <a:gd name="connsiteY5" fmla="*/ 144270 h 1071116"/>
              <a:gd name="connsiteX6" fmla="*/ 2605737 w 2605737"/>
              <a:gd name="connsiteY6" fmla="*/ 144270 h 1071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05737" h="1071116">
                <a:moveTo>
                  <a:pt x="2605737" y="1071116"/>
                </a:moveTo>
                <a:lnTo>
                  <a:pt x="0" y="1071116"/>
                </a:lnTo>
                <a:lnTo>
                  <a:pt x="0" y="144270"/>
                </a:lnTo>
                <a:lnTo>
                  <a:pt x="1181901" y="144270"/>
                </a:lnTo>
                <a:lnTo>
                  <a:pt x="1302869" y="0"/>
                </a:lnTo>
                <a:lnTo>
                  <a:pt x="1423837" y="144270"/>
                </a:lnTo>
                <a:lnTo>
                  <a:pt x="2605737" y="14427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5" name="Content Placeholder 15"/>
          <p:cNvSpPr txBox="1">
            <a:spLocks/>
          </p:cNvSpPr>
          <p:nvPr/>
        </p:nvSpPr>
        <p:spPr>
          <a:xfrm>
            <a:off x="1218328" y="251346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لث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graphicFrame>
        <p:nvGraphicFramePr>
          <p:cNvPr id="31" name="عنصر نائب للمحتوى 3"/>
          <p:cNvGraphicFramePr>
            <a:graphicFrameLocks/>
          </p:cNvGraphicFramePr>
          <p:nvPr/>
        </p:nvGraphicFramePr>
        <p:xfrm>
          <a:off x="302211" y="631674"/>
          <a:ext cx="11431240" cy="1463040"/>
        </p:xfrm>
        <a:graphic>
          <a:graphicData uri="http://schemas.openxmlformats.org/drawingml/2006/table">
            <a:tbl>
              <a:tblPr rtl="1" firstRow="1" bandRow="1">
                <a:tableStyleId>{5C22544A-7EE6-4342-B048-85BDC9FD1C3A}</a:tableStyleId>
              </a:tblPr>
              <a:tblGrid>
                <a:gridCol w="28578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578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رقم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endParaRPr lang="ar-SA" sz="2400" dirty="0"/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وض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راجعة الدرس السابق 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8950"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مدة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2د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نوع النشاط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r" rtl="1"/>
                      <a:r>
                        <a:rPr lang="ar-SA" sz="2400" dirty="0"/>
                        <a:t>فردي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8950"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لاستراتيجية التعلمية النشطة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1"/>
                      <a:r>
                        <a:rPr lang="ar-SA" sz="2400" dirty="0"/>
                        <a:t>استراتيجية اكتشف الخطأ</a:t>
                      </a:r>
                    </a:p>
                  </a:txBody>
                  <a:tcPr marL="121920" marR="121920" marT="60960" marB="60960"/>
                </a:tc>
                <a:tc hMerge="1">
                  <a:txBody>
                    <a:bodyPr/>
                    <a:lstStyle/>
                    <a:p>
                      <a:pPr rtl="1"/>
                      <a:endParaRPr lang="ar-S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2" name="Content Placeholder 15"/>
          <p:cNvSpPr txBox="1">
            <a:spLocks/>
          </p:cNvSpPr>
          <p:nvPr/>
        </p:nvSpPr>
        <p:spPr>
          <a:xfrm>
            <a:off x="9040594" y="2561899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ar-SA" altLang="ko-KR" sz="2800" dirty="0">
                <a:solidFill>
                  <a:prstClr val="white">
                    <a:lumMod val="95000"/>
                  </a:prstClr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سؤال الأول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4" name="Content Placeholder 15"/>
          <p:cNvSpPr txBox="1">
            <a:spLocks/>
          </p:cNvSpPr>
          <p:nvPr/>
        </p:nvSpPr>
        <p:spPr>
          <a:xfrm>
            <a:off x="4948526" y="2538082"/>
            <a:ext cx="2602318" cy="43088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ctr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6000" b="0" i="0" kern="1200" cap="all" baseline="0" dirty="0" smtClean="0">
                <a:solidFill>
                  <a:srgbClr val="1A2530"/>
                </a:solidFill>
                <a:uFillTx/>
                <a:latin typeface="Source Sans Pro Black" panose="020B08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848899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ar-SA" sz="2800" b="0" i="0" u="none" strike="noStrike" kern="1200" cap="all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السؤال</a:t>
            </a:r>
            <a:r>
              <a:rPr kumimoji="0" lang="ar-SA" sz="2800" b="0" i="0" u="none" strike="noStrike" kern="1200" cap="all" spc="0" normalizeH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A Jannat LT" panose="01000000000000000000" pitchFamily="2" charset="-78"/>
                <a:ea typeface="+mj-ea"/>
                <a:cs typeface="A Jannat LT" panose="01000000000000000000" pitchFamily="2" charset="-78"/>
              </a:rPr>
              <a:t> الثاني </a:t>
            </a:r>
            <a:endParaRPr kumimoji="0" lang="ko-KR" altLang="en-US" sz="3200" b="1" i="0" u="none" strike="noStrike" kern="1200" cap="all" spc="0" normalizeH="0" baseline="0" noProof="0" dirty="0">
              <a:ln>
                <a:noFill/>
              </a:ln>
              <a:solidFill>
                <a:prstClr val="white">
                  <a:lumMod val="95000"/>
                </a:prstClr>
              </a:solidFill>
              <a:effectLst/>
              <a:uLnTx/>
              <a:uFillTx/>
              <a:latin typeface="A Jannat LT" panose="01000000000000000000" pitchFamily="2" charset="-78"/>
              <a:ea typeface="+mj-ea"/>
              <a:cs typeface="A Jannat LT" panose="01000000000000000000" pitchFamily="2" charset="-78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4645435" y="3194625"/>
            <a:ext cx="3489572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4000" b="1" kern="0" dirty="0" err="1">
              <a:solidFill>
                <a:srgbClr val="FFC000"/>
              </a:solidFill>
              <a:latin typeface="Century Gothic" panose="020B0502020202020204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627625" y="3194625"/>
            <a:ext cx="3783724" cy="3494994"/>
          </a:xfrm>
          <a:prstGeom prst="rect">
            <a:avLst/>
          </a:prstGeom>
          <a:solidFill>
            <a:srgbClr val="262626">
              <a:alpha val="50196"/>
            </a:srgbClr>
          </a:solidFill>
          <a:ln w="381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ar-SA" sz="3600" b="1" kern="0" dirty="0">
              <a:solidFill>
                <a:srgbClr val="FFC000"/>
              </a:solidFill>
              <a:latin typeface="Century Gothic" panose="020B0502020202020204"/>
            </a:endParaRP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7625" y="1167931"/>
            <a:ext cx="1306673" cy="390525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8702139" y="3459967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2000" b="1" dirty="0"/>
              <a:t> </a:t>
            </a:r>
            <a:r>
              <a:rPr lang="en-US" sz="2000" b="1" dirty="0"/>
              <a:t>&lt;p style=“</a:t>
            </a:r>
            <a:r>
              <a:rPr lang="en-US" sz="2000" b="1" dirty="0" err="1"/>
              <a:t>color:green</a:t>
            </a:r>
            <a:r>
              <a:rPr lang="en-US" sz="2000" b="1" dirty="0"/>
              <a:t>”&gt;</a:t>
            </a:r>
          </a:p>
          <a:p>
            <a:pPr algn="ctr"/>
            <a:endParaRPr lang="en-US" sz="2000" b="1" dirty="0"/>
          </a:p>
          <a:p>
            <a:pPr algn="ctr"/>
            <a:r>
              <a:rPr lang="ar-SA" sz="2000" b="1" dirty="0"/>
              <a:t>مثال لكتابة سطر برمجي للتنسيق باستخدام صفحات الأنماط </a:t>
            </a:r>
            <a:r>
              <a:rPr lang="ar-SA" sz="2000" b="1" dirty="0">
                <a:solidFill>
                  <a:srgbClr val="FF0000"/>
                </a:solidFill>
              </a:rPr>
              <a:t>المضمنة</a:t>
            </a:r>
          </a:p>
          <a:p>
            <a:pPr algn="ctr"/>
            <a:r>
              <a:rPr lang="en-US" sz="2000" b="1" dirty="0">
                <a:solidFill>
                  <a:srgbClr val="FF0000"/>
                </a:solidFill>
              </a:rPr>
              <a:t>Line style</a:t>
            </a:r>
            <a:endParaRPr lang="ar-SA" sz="2000" b="1" dirty="0">
              <a:solidFill>
                <a:srgbClr val="FF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980396" y="3424724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خاصية زخرفة النص</a:t>
            </a:r>
          </a:p>
          <a:p>
            <a:pPr algn="ctr"/>
            <a:r>
              <a:rPr lang="en-US" sz="2800" b="1" dirty="0"/>
              <a:t>Text-decoration</a:t>
            </a:r>
          </a:p>
          <a:p>
            <a:pPr algn="ctr"/>
            <a:r>
              <a:rPr lang="ar-SA" sz="2800" b="1" dirty="0"/>
              <a:t>لها عدة تأثيرات منها </a:t>
            </a:r>
          </a:p>
          <a:p>
            <a:pPr algn="ctr"/>
            <a:r>
              <a:rPr lang="en-US" sz="2800" b="1" dirty="0"/>
              <a:t>Blink</a:t>
            </a:r>
            <a:r>
              <a:rPr lang="ar-SA" sz="2800" b="1" dirty="0"/>
              <a:t> وتعني </a:t>
            </a:r>
          </a:p>
          <a:p>
            <a:pPr algn="ctr"/>
            <a:r>
              <a:rPr lang="ar-SA" sz="2400" b="1" dirty="0">
                <a:solidFill>
                  <a:srgbClr val="FF0000"/>
                </a:solidFill>
              </a:rPr>
              <a:t>إضافة وميض متحرك للنص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851130" y="3459968"/>
            <a:ext cx="3078182" cy="299184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3200" b="1" dirty="0"/>
              <a:t>خاصية اللون في </a:t>
            </a:r>
            <a:r>
              <a:rPr lang="ar-SA" sz="2800" b="1" dirty="0"/>
              <a:t>صفحات التنسيق النمطي </a:t>
            </a:r>
            <a:endParaRPr lang="ar-SA" sz="3200" b="1" dirty="0"/>
          </a:p>
          <a:p>
            <a:pPr algn="ctr"/>
            <a:r>
              <a:rPr lang="en-US" sz="3200" b="1" dirty="0" err="1"/>
              <a:t>css</a:t>
            </a:r>
            <a:endParaRPr lang="ar-SA" sz="3200" b="1" dirty="0"/>
          </a:p>
          <a:p>
            <a:pPr algn="ctr"/>
            <a:r>
              <a:rPr lang="ar-SA" sz="3200" b="1" dirty="0"/>
              <a:t>تحدد</a:t>
            </a:r>
            <a:r>
              <a:rPr lang="ar-SA" sz="3200" b="1" dirty="0">
                <a:solidFill>
                  <a:srgbClr val="FF0000"/>
                </a:solidFill>
              </a:rPr>
              <a:t> ثلاثة </a:t>
            </a:r>
            <a:r>
              <a:rPr lang="ar-SA" sz="3200" b="1" dirty="0"/>
              <a:t>طرق</a:t>
            </a:r>
          </a:p>
          <a:p>
            <a:pPr algn="ctr"/>
            <a:r>
              <a:rPr lang="en-US" sz="3200" b="1" dirty="0" err="1">
                <a:solidFill>
                  <a:srgbClr val="FF0000"/>
                </a:solidFill>
              </a:rPr>
              <a:t>Name,RGP,Hex</a:t>
            </a:r>
            <a:endParaRPr lang="ar-SA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2212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1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3" grpId="0" animBg="1"/>
      <p:bldP spid="65" grpId="0" animBg="1"/>
      <p:bldP spid="66" grpId="0" animBg="1"/>
      <p:bldP spid="67" grpId="0" animBg="1"/>
      <p:bldP spid="15" grpId="0"/>
      <p:bldP spid="32" grpId="0"/>
      <p:bldP spid="34" grpId="0"/>
      <p:bldP spid="35" grpId="0" animBg="1"/>
      <p:bldP spid="36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" name="صورة 7">
            <a:extLst>
              <a:ext uri="{FF2B5EF4-FFF2-40B4-BE49-F238E27FC236}">
                <a16:creationId xmlns:a16="http://schemas.microsoft.com/office/drawing/2014/main" id="{7793F238-3887-238D-2628-36E407A2947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84486" y="260351"/>
            <a:ext cx="3582650" cy="5776118"/>
          </a:xfrm>
          <a:prstGeom prst="rect">
            <a:avLst/>
          </a:prstGeom>
        </p:spPr>
      </p:pic>
      <p:pic>
        <p:nvPicPr>
          <p:cNvPr id="6" name="صورة 5">
            <a:extLst>
              <a:ext uri="{FF2B5EF4-FFF2-40B4-BE49-F238E27FC236}">
                <a16:creationId xmlns:a16="http://schemas.microsoft.com/office/drawing/2014/main" id="{4F403B63-6D9A-8982-0665-20D1047C4A7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4898" y="433388"/>
            <a:ext cx="8069496" cy="5705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801431"/>
      </p:ext>
    </p:extLst>
  </p:cSld>
  <p:clrMapOvr>
    <a:masterClrMapping/>
  </p:clrMapOvr>
  <p:transition spd="slow"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16734074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25527583-73FE-06D7-F683-203AA44FF0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715" y="132159"/>
            <a:ext cx="8102082" cy="65936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7652241"/>
      </p:ext>
    </p:extLst>
  </p:cSld>
  <p:clrMapOvr>
    <a:masterClrMapping/>
  </p:clrMapOvr>
  <p:transition spd="slow"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82BF1A3E-DE1C-A6E9-1637-FF314DB00AF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4899" y="237330"/>
            <a:ext cx="8031840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762361"/>
      </p:ext>
    </p:extLst>
  </p:cSld>
  <p:clrMapOvr>
    <a:masterClrMapping/>
  </p:clrMapOvr>
  <p:transition spd="slow">
    <p:wipe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510A7022-4653-A65B-123F-016482D93F1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7316" y="153986"/>
            <a:ext cx="7827897" cy="6704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005530"/>
      </p:ext>
    </p:extLst>
  </p:cSld>
  <p:clrMapOvr>
    <a:masterClrMapping/>
  </p:clrMapOvr>
  <p:transition spd="slow"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61122272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6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1C4F8947-1E09-5BC7-EF23-36372F042E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7168" y="290513"/>
            <a:ext cx="8031897" cy="5848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2840100"/>
      </p:ext>
    </p:extLst>
  </p:cSld>
  <p:clrMapOvr>
    <a:masterClrMapping/>
  </p:clrMapOvr>
  <p:transition spd="slow">
    <p:wipe/>
  </p:transition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94662439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8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33257D4A-09D6-E3AF-C6B2-461A84E3121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6210300" cy="6858000"/>
          </a:xfrm>
          <a:prstGeom prst="rect">
            <a:avLst/>
          </a:prstGeom>
        </p:spPr>
      </p:pic>
      <p:pic>
        <p:nvPicPr>
          <p:cNvPr id="9" name="صورة 8">
            <a:extLst>
              <a:ext uri="{FF2B5EF4-FFF2-40B4-BE49-F238E27FC236}">
                <a16:creationId xmlns:a16="http://schemas.microsoft.com/office/drawing/2014/main" id="{D933937F-B5B8-0C10-C262-6CEA023A739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2888" y="654592"/>
            <a:ext cx="7424737" cy="1247775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D856E5DF-6E26-7DCD-B4D6-C67F446D4C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39865" y="1902368"/>
            <a:ext cx="6152135" cy="4955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32373"/>
      </p:ext>
    </p:extLst>
  </p:cSld>
  <p:clrMapOvr>
    <a:masterClrMapping/>
  </p:clrMapOvr>
  <p:transition spd="slow">
    <p:wipe/>
  </p:transition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39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3D5116AA-E8EA-A1CB-12DA-089F2FC4569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14300"/>
            <a:ext cx="6804991" cy="6743699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EC01CF3A-17B7-4E7C-8681-6493BBC37A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14825" y="4365082"/>
            <a:ext cx="7877175" cy="242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183588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شراقة الصباح</a:t>
            </a: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2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849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40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Content Placeholder 15">
            <a:extLst>
              <a:ext uri="{FF2B5EF4-FFF2-40B4-BE49-F238E27FC236}">
                <a16:creationId xmlns:a16="http://schemas.microsoft.com/office/drawing/2014/main" id="{042F2338-0E0D-4A1C-233D-541D4F8A10C5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40587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ko-KR" altLang="en-US" sz="3200" b="1" dirty="0">
              <a:solidFill>
                <a:srgbClr val="FFC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صورة 4">
            <a:extLst>
              <a:ext uri="{FF2B5EF4-FFF2-40B4-BE49-F238E27FC236}">
                <a16:creationId xmlns:a16="http://schemas.microsoft.com/office/drawing/2014/main" id="{8BAF5320-0B4B-5057-E935-0517511DD02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152" y="107156"/>
            <a:ext cx="6010946" cy="6593682"/>
          </a:xfrm>
          <a:prstGeom prst="rect">
            <a:avLst/>
          </a:prstGeom>
        </p:spPr>
      </p:pic>
      <p:pic>
        <p:nvPicPr>
          <p:cNvPr id="8" name="صورة 7">
            <a:extLst>
              <a:ext uri="{FF2B5EF4-FFF2-40B4-BE49-F238E27FC236}">
                <a16:creationId xmlns:a16="http://schemas.microsoft.com/office/drawing/2014/main" id="{A7B8DDB3-85C5-51CD-EEF6-A6D40699069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65394" y="180789"/>
            <a:ext cx="3105150" cy="485775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9C58CE77-FB2F-269C-CEA5-654BB7CB04E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30556" y="1822449"/>
            <a:ext cx="6010946" cy="495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256310"/>
      </p:ext>
    </p:extLst>
  </p:cSld>
  <p:clrMapOvr>
    <a:masterClrMapping/>
  </p:clrMapOvr>
  <p:transition spd="slow">
    <p:wipe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تقويم نهائي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96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42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794656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9804" y="240965"/>
            <a:ext cx="7908280" cy="1581484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844197" y="82279"/>
            <a:ext cx="3036477" cy="600075"/>
          </a:xfrm>
          <a:prstGeom prst="rect">
            <a:avLst/>
          </a:prstGeom>
        </p:spPr>
      </p:pic>
      <p:sp>
        <p:nvSpPr>
          <p:cNvPr id="20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14157" y="65818"/>
            <a:ext cx="3582650" cy="2294543"/>
          </a:xfrm>
          <a:prstGeom prst="rect">
            <a:avLst/>
          </a:prstGeom>
        </p:spPr>
        <p:txBody>
          <a:bodyPr lIns="0" tIns="0" rIns="0" bIns="0">
            <a:normAutofit fontScale="77500" lnSpcReduction="2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لحصول على نقطتين للأسرع </a:t>
            </a: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2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426430" y="1392875"/>
            <a:ext cx="7874513" cy="43195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المهمة 2 : </a:t>
            </a:r>
            <a:endParaRPr lang="ar-SA" altLang="ko-KR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قومي بكتابة الكود في صفحة</a:t>
            </a:r>
            <a:r>
              <a:rPr lang="en-US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ونفذي التنسيقات في</a:t>
            </a:r>
            <a:r>
              <a:rPr lang="en-US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CSS </a:t>
            </a: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خارجية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قومي بتنسيق شريط التصفح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 في قسم </a:t>
            </a:r>
            <a:r>
              <a:rPr lang="en-US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menu </a:t>
            </a: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ستعينة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 بصفحة 137 </a:t>
            </a:r>
          </a:p>
          <a:p>
            <a:pPr marL="342900" indent="-342900" algn="r" rtl="1">
              <a:buFont typeface="Arial" panose="020B0604020202020204" pitchFamily="34" charset="0"/>
              <a:buChar char="•"/>
            </a:pP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قومي بتوسيط المحتوى </a:t>
            </a:r>
            <a:r>
              <a:rPr lang="en-US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main</a:t>
            </a:r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r>
              <a:rPr lang="ar-SA" altLang="ko-KR" sz="20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 وتغير خلفيته</a:t>
            </a:r>
          </a:p>
          <a:p>
            <a:pPr algn="r" rtl="1"/>
            <a:r>
              <a:rPr lang="ar-SA" altLang="ko-KR" sz="3200" u="sng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  <a:endParaRPr lang="ko-KR" altLang="en-US" sz="3200" u="sng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8" name="رسم 7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791F9315-8814-4796-7B97-7F68E747BF5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95621" y="1260591"/>
            <a:ext cx="914400" cy="914400"/>
          </a:xfrm>
          <a:prstGeom prst="rect">
            <a:avLst/>
          </a:prstGeom>
        </p:spPr>
      </p:pic>
      <p:pic>
        <p:nvPicPr>
          <p:cNvPr id="9" name="رسم 8" descr="وجه مُصمت مندهش بنجمتين في العينين مع تعبئة خالصة">
            <a:extLst>
              <a:ext uri="{FF2B5EF4-FFF2-40B4-BE49-F238E27FC236}">
                <a16:creationId xmlns:a16="http://schemas.microsoft.com/office/drawing/2014/main" id="{C4230021-3A03-A1F7-616E-F8A340938E3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281680" y="1226386"/>
            <a:ext cx="914400" cy="914400"/>
          </a:xfrm>
          <a:prstGeom prst="rect">
            <a:avLst/>
          </a:prstGeom>
        </p:spPr>
      </p:pic>
      <p:pic>
        <p:nvPicPr>
          <p:cNvPr id="5" name="صورة 4">
            <a:extLst>
              <a:ext uri="{FF2B5EF4-FFF2-40B4-BE49-F238E27FC236}">
                <a16:creationId xmlns:a16="http://schemas.microsoft.com/office/drawing/2014/main" id="{ECF12337-D95F-CF54-374E-282DC9EF5EA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02" y="1822449"/>
            <a:ext cx="4976849" cy="5035551"/>
          </a:xfrm>
          <a:prstGeom prst="rect">
            <a:avLst/>
          </a:prstGeom>
        </p:spPr>
      </p:pic>
      <p:pic>
        <p:nvPicPr>
          <p:cNvPr id="10" name="صورة 9">
            <a:extLst>
              <a:ext uri="{FF2B5EF4-FFF2-40B4-BE49-F238E27FC236}">
                <a16:creationId xmlns:a16="http://schemas.microsoft.com/office/drawing/2014/main" id="{DA922729-DD04-E501-4925-6B59DC68E096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4121"/>
          <a:stretch/>
        </p:blipFill>
        <p:spPr>
          <a:xfrm>
            <a:off x="9635405" y="2394566"/>
            <a:ext cx="2331654" cy="3541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47622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43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6320813" y="3158179"/>
            <a:ext cx="3582650" cy="247124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2000" dirty="0">
              <a:solidFill>
                <a:schemeClr val="accent4">
                  <a:lumMod val="50000"/>
                </a:schemeClr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 </a:t>
            </a: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8990615C-E497-CE2A-4568-D33FF5EBF91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69598" y="85061"/>
            <a:ext cx="4376019" cy="3586716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8CB1C88C-7A84-D280-1964-EF66BB4B27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75920" y="2385237"/>
            <a:ext cx="4102707" cy="4472763"/>
          </a:xfrm>
          <a:prstGeom prst="rect">
            <a:avLst/>
          </a:prstGeom>
        </p:spPr>
      </p:pic>
      <p:pic>
        <p:nvPicPr>
          <p:cNvPr id="13" name="صورة 12">
            <a:extLst>
              <a:ext uri="{FF2B5EF4-FFF2-40B4-BE49-F238E27FC236}">
                <a16:creationId xmlns:a16="http://schemas.microsoft.com/office/drawing/2014/main" id="{A3C2A727-841B-5F28-B493-9DF10554C10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44" y="0"/>
            <a:ext cx="4752642" cy="6858000"/>
          </a:xfrm>
          <a:prstGeom prst="rect">
            <a:avLst/>
          </a:prstGeom>
        </p:spPr>
      </p:pic>
      <p:sp>
        <p:nvSpPr>
          <p:cNvPr id="14" name="مستطيل 13">
            <a:extLst>
              <a:ext uri="{FF2B5EF4-FFF2-40B4-BE49-F238E27FC236}">
                <a16:creationId xmlns:a16="http://schemas.microsoft.com/office/drawing/2014/main" id="{A32C23DF-09A8-AAF5-1FFA-4F501E52E838}"/>
              </a:ext>
            </a:extLst>
          </p:cNvPr>
          <p:cNvSpPr/>
          <p:nvPr/>
        </p:nvSpPr>
        <p:spPr>
          <a:xfrm>
            <a:off x="8016799" y="2227191"/>
            <a:ext cx="843392" cy="361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HTML</a:t>
            </a:r>
            <a:endParaRPr lang="ar-SA" b="1" dirty="0">
              <a:solidFill>
                <a:srgbClr val="C00000"/>
              </a:solidFill>
            </a:endParaRPr>
          </a:p>
        </p:txBody>
      </p:sp>
      <p:sp>
        <p:nvSpPr>
          <p:cNvPr id="15" name="مستطيل 14">
            <a:extLst>
              <a:ext uri="{FF2B5EF4-FFF2-40B4-BE49-F238E27FC236}">
                <a16:creationId xmlns:a16="http://schemas.microsoft.com/office/drawing/2014/main" id="{A1BECD43-21C2-DF25-B61F-30F58AF67C3D}"/>
              </a:ext>
            </a:extLst>
          </p:cNvPr>
          <p:cNvSpPr/>
          <p:nvPr/>
        </p:nvSpPr>
        <p:spPr>
          <a:xfrm>
            <a:off x="4422403" y="0"/>
            <a:ext cx="843392" cy="361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en-US" b="1" dirty="0">
                <a:solidFill>
                  <a:srgbClr val="C00000"/>
                </a:solidFill>
              </a:rPr>
              <a:t>CSS</a:t>
            </a:r>
            <a:endParaRPr lang="ar-SA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394791"/>
      </p:ext>
    </p:extLst>
  </p:cSld>
  <p:clrMapOvr>
    <a:masterClrMapping/>
  </p:clrMapOvr>
  <p:transition spd="slow">
    <p:wipe/>
  </p:transition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ثراء 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6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8838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45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7"/>
            <a:ext cx="3582650" cy="520909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endParaRPr lang="ar-SA" altLang="ko-KR" sz="105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88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r>
              <a:rPr lang="ar-SA" altLang="ko-KR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لابأس من التطبيق على البدائل التعليمية على الأجهزة الذكية</a:t>
            </a:r>
          </a:p>
          <a:p>
            <a:pPr algn="r" rtl="1"/>
            <a:endParaRPr lang="ar-SA" altLang="ko-KR" sz="4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ar-SA" altLang="ko-KR" sz="40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rtl="1"/>
            <a:endParaRPr lang="ko-KR" altLang="en-US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 flipV="1">
            <a:off x="8890684" y="2157570"/>
            <a:ext cx="3301316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5" name="Content Placeholder 15">
            <a:extLst>
              <a:ext uri="{FF2B5EF4-FFF2-40B4-BE49-F238E27FC236}">
                <a16:creationId xmlns:a16="http://schemas.microsoft.com/office/drawing/2014/main" id="{CC9491C5-BF30-517B-9858-77FD1568FA9B}"/>
              </a:ext>
            </a:extLst>
          </p:cNvPr>
          <p:cNvSpPr txBox="1">
            <a:spLocks/>
          </p:cNvSpPr>
          <p:nvPr/>
        </p:nvSpPr>
        <p:spPr>
          <a:xfrm>
            <a:off x="2691475" y="834573"/>
            <a:ext cx="3582650" cy="596588"/>
          </a:xfrm>
          <a:prstGeom prst="rect">
            <a:avLst/>
          </a:prstGeom>
        </p:spPr>
        <p:txBody>
          <a:bodyPr lIns="0" tIns="0" rIns="0" bIns="0">
            <a:normAutofit fontScale="85000" lnSpcReduction="10000"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4400" b="1" dirty="0">
                <a:solidFill>
                  <a:srgbClr val="0070C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شرح الدرس بالتفصيل </a:t>
            </a:r>
            <a:endParaRPr lang="ko-KR" altLang="en-US" sz="4400" b="1" dirty="0">
              <a:solidFill>
                <a:srgbClr val="0070C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pic>
        <p:nvPicPr>
          <p:cNvPr id="6" name="صورة 5">
            <a:hlinkClick r:id="rId6"/>
            <a:extLst>
              <a:ext uri="{FF2B5EF4-FFF2-40B4-BE49-F238E27FC236}">
                <a16:creationId xmlns:a16="http://schemas.microsoft.com/office/drawing/2014/main" id="{8C66D69E-3257-2CE1-837A-FDEE23CF91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76362" y="1734989"/>
            <a:ext cx="5781675" cy="3629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1587357"/>
      </p:ext>
    </p:extLst>
  </p:cSld>
  <p:clrMapOvr>
    <a:masterClrMapping/>
  </p:clrMapOvr>
  <p:transition spd="slow">
    <p:wipe/>
  </p:transition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الواجب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7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967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47</a:t>
            </a:fld>
            <a:endParaRPr lang="en-US" dirty="0"/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 flipV="1">
            <a:off x="8890684" y="2157570"/>
            <a:ext cx="3301316" cy="45719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sp>
        <p:nvSpPr>
          <p:cNvPr id="2" name="مستطيل 1">
            <a:extLst>
              <a:ext uri="{FF2B5EF4-FFF2-40B4-BE49-F238E27FC236}">
                <a16:creationId xmlns:a16="http://schemas.microsoft.com/office/drawing/2014/main" id="{BD71E287-740A-1D3B-728D-500BCAC64357}"/>
              </a:ext>
            </a:extLst>
          </p:cNvPr>
          <p:cNvSpPr/>
          <p:nvPr/>
        </p:nvSpPr>
        <p:spPr>
          <a:xfrm>
            <a:off x="8945526" y="1056130"/>
            <a:ext cx="3168502" cy="7159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4000" b="1" dirty="0">
                <a:solidFill>
                  <a:srgbClr val="C00000"/>
                </a:solidFill>
              </a:rPr>
              <a:t>الواجب </a:t>
            </a:r>
          </a:p>
        </p:txBody>
      </p:sp>
      <p:sp>
        <p:nvSpPr>
          <p:cNvPr id="3" name="مستطيل 2">
            <a:extLst>
              <a:ext uri="{FF2B5EF4-FFF2-40B4-BE49-F238E27FC236}">
                <a16:creationId xmlns:a16="http://schemas.microsoft.com/office/drawing/2014/main" id="{BCAAD040-8F0A-ADF6-5320-8DABF9AB1A40}"/>
              </a:ext>
            </a:extLst>
          </p:cNvPr>
          <p:cNvSpPr/>
          <p:nvPr/>
        </p:nvSpPr>
        <p:spPr>
          <a:xfrm>
            <a:off x="1316977" y="1271523"/>
            <a:ext cx="6287386" cy="1772093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1" anchor="ctr"/>
          <a:lstStyle/>
          <a:p>
            <a:pPr algn="ctr"/>
            <a:r>
              <a:rPr lang="ar-SA" sz="5400" b="1" dirty="0"/>
              <a:t>حل الواجب في</a:t>
            </a:r>
          </a:p>
          <a:p>
            <a:pPr algn="ctr"/>
            <a:r>
              <a:rPr lang="ar-SA" sz="5400" b="1" dirty="0"/>
              <a:t> منصة مدرستي  </a:t>
            </a:r>
          </a:p>
        </p:txBody>
      </p:sp>
      <p:pic>
        <p:nvPicPr>
          <p:cNvPr id="8" name="صورة 7">
            <a:extLst>
              <a:ext uri="{FF2B5EF4-FFF2-40B4-BE49-F238E27FC236}">
                <a16:creationId xmlns:a16="http://schemas.microsoft.com/office/drawing/2014/main" id="{264E3692-14D2-6E36-E2C6-A34592DE315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47341" y="3271284"/>
            <a:ext cx="2943225" cy="167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587377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4" name="Object 2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09" b="7809"/>
          <a:stretch>
            <a:fillRect/>
          </a:stretch>
        </p:blipFill>
        <p:spPr/>
      </p:pic>
      <p:sp>
        <p:nvSpPr>
          <p:cNvPr id="18" name="Rectangle 17"/>
          <p:cNvSpPr/>
          <p:nvPr/>
        </p:nvSpPr>
        <p:spPr>
          <a:xfrm rot="5400000">
            <a:off x="10771684" y="4605860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19" name="Rectangle 18"/>
          <p:cNvSpPr/>
          <p:nvPr/>
        </p:nvSpPr>
        <p:spPr>
          <a:xfrm rot="5400000">
            <a:off x="10771684" y="5147474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0" name="Rectangle 19"/>
          <p:cNvSpPr/>
          <p:nvPr/>
        </p:nvSpPr>
        <p:spPr>
          <a:xfrm rot="5400000">
            <a:off x="10771684" y="568908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53218" y="424543"/>
            <a:ext cx="5922499" cy="5842364"/>
          </a:xfrm>
          <a:prstGeom prst="rect">
            <a:avLst/>
          </a:prstGeom>
          <a:solidFill>
            <a:srgbClr val="FFFFFF">
              <a:alpha val="80000"/>
            </a:srgbClr>
          </a:solidFill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 rot="5400000">
            <a:off x="11779828" y="5164339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1" name="Rectangle 40"/>
          <p:cNvSpPr/>
          <p:nvPr/>
        </p:nvSpPr>
        <p:spPr>
          <a:xfrm rot="5400000">
            <a:off x="11779828" y="5705953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2" name="Rectangle 41"/>
          <p:cNvSpPr/>
          <p:nvPr/>
        </p:nvSpPr>
        <p:spPr>
          <a:xfrm rot="5400000">
            <a:off x="11779828" y="624756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2" name="Rectangle 21"/>
          <p:cNvSpPr/>
          <p:nvPr/>
        </p:nvSpPr>
        <p:spPr>
          <a:xfrm rot="5400000">
            <a:off x="10771684" y="4605861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3" name="Rectangle 22"/>
          <p:cNvSpPr/>
          <p:nvPr/>
        </p:nvSpPr>
        <p:spPr>
          <a:xfrm rot="5400000">
            <a:off x="11779828" y="5164340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8" name="Rectangle 27"/>
          <p:cNvSpPr/>
          <p:nvPr/>
        </p:nvSpPr>
        <p:spPr>
          <a:xfrm rot="5400000">
            <a:off x="11779828" y="5705954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0" name="Rectangle 29"/>
          <p:cNvSpPr/>
          <p:nvPr/>
        </p:nvSpPr>
        <p:spPr>
          <a:xfrm rot="5400000">
            <a:off x="10771684" y="4605862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1" name="Rectangle 30"/>
          <p:cNvSpPr/>
          <p:nvPr/>
        </p:nvSpPr>
        <p:spPr>
          <a:xfrm rot="5400000">
            <a:off x="11779828" y="5164341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2" name="Rectangle 31"/>
          <p:cNvSpPr/>
          <p:nvPr/>
        </p:nvSpPr>
        <p:spPr>
          <a:xfrm rot="5400000">
            <a:off x="10771684" y="5147475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6" name="Rectangle 35"/>
          <p:cNvSpPr/>
          <p:nvPr/>
        </p:nvSpPr>
        <p:spPr>
          <a:xfrm rot="5400000">
            <a:off x="11779828" y="5705955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7" name="Rectangle 36"/>
          <p:cNvSpPr/>
          <p:nvPr/>
        </p:nvSpPr>
        <p:spPr>
          <a:xfrm rot="5400000">
            <a:off x="10771684" y="4605863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38" name="Rectangle 37"/>
          <p:cNvSpPr/>
          <p:nvPr/>
        </p:nvSpPr>
        <p:spPr>
          <a:xfrm rot="5400000">
            <a:off x="11779828" y="5164342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0" name="Rectangle 39"/>
          <p:cNvSpPr/>
          <p:nvPr/>
        </p:nvSpPr>
        <p:spPr>
          <a:xfrm rot="5400000">
            <a:off x="10771684" y="5147476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3" name="Rectangle 42"/>
          <p:cNvSpPr/>
          <p:nvPr/>
        </p:nvSpPr>
        <p:spPr>
          <a:xfrm rot="5400000">
            <a:off x="11779828" y="5705956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4" name="Rectangle 43"/>
          <p:cNvSpPr/>
          <p:nvPr/>
        </p:nvSpPr>
        <p:spPr>
          <a:xfrm rot="5400000">
            <a:off x="10771684" y="4605864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45" name="Rectangle 44"/>
          <p:cNvSpPr/>
          <p:nvPr/>
        </p:nvSpPr>
        <p:spPr>
          <a:xfrm rot="5400000">
            <a:off x="11779828" y="5164344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2" name="Rectangle 51"/>
          <p:cNvSpPr/>
          <p:nvPr/>
        </p:nvSpPr>
        <p:spPr>
          <a:xfrm rot="5400000">
            <a:off x="10771684" y="4605865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3" name="Rectangle 52"/>
          <p:cNvSpPr/>
          <p:nvPr/>
        </p:nvSpPr>
        <p:spPr>
          <a:xfrm rot="5400000">
            <a:off x="11779828" y="5164345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4" name="Rectangle 53"/>
          <p:cNvSpPr/>
          <p:nvPr/>
        </p:nvSpPr>
        <p:spPr>
          <a:xfrm rot="5400000">
            <a:off x="11779828" y="5705957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5" name="Rectangle 54"/>
          <p:cNvSpPr/>
          <p:nvPr/>
        </p:nvSpPr>
        <p:spPr>
          <a:xfrm rot="5400000">
            <a:off x="10771684" y="4605866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6" name="Rectangle 55"/>
          <p:cNvSpPr/>
          <p:nvPr/>
        </p:nvSpPr>
        <p:spPr>
          <a:xfrm rot="5400000">
            <a:off x="11779828" y="5164346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7" name="Rectangle 56"/>
          <p:cNvSpPr/>
          <p:nvPr/>
        </p:nvSpPr>
        <p:spPr>
          <a:xfrm rot="5400000">
            <a:off x="10771684" y="5147477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8" name="Rectangle 57"/>
          <p:cNvSpPr/>
          <p:nvPr/>
        </p:nvSpPr>
        <p:spPr>
          <a:xfrm rot="5400000">
            <a:off x="11779828" y="570595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59" name="Rectangle 58"/>
          <p:cNvSpPr/>
          <p:nvPr/>
        </p:nvSpPr>
        <p:spPr>
          <a:xfrm rot="5400000">
            <a:off x="10771684" y="4605867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0" name="Rectangle 59"/>
          <p:cNvSpPr/>
          <p:nvPr/>
        </p:nvSpPr>
        <p:spPr>
          <a:xfrm rot="5400000">
            <a:off x="11779828" y="5164347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1" name="Rectangle 60"/>
          <p:cNvSpPr/>
          <p:nvPr/>
        </p:nvSpPr>
        <p:spPr>
          <a:xfrm rot="5400000">
            <a:off x="10771684" y="5689090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2" name="Rectangle 61"/>
          <p:cNvSpPr/>
          <p:nvPr/>
        </p:nvSpPr>
        <p:spPr>
          <a:xfrm rot="5400000">
            <a:off x="10771684" y="5147478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3" name="Rectangle 62"/>
          <p:cNvSpPr/>
          <p:nvPr/>
        </p:nvSpPr>
        <p:spPr>
          <a:xfrm rot="5400000">
            <a:off x="11779828" y="5705959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4" name="Rectangle 63"/>
          <p:cNvSpPr/>
          <p:nvPr/>
        </p:nvSpPr>
        <p:spPr>
          <a:xfrm rot="5400000">
            <a:off x="10771684" y="4605869"/>
            <a:ext cx="404121" cy="1559758"/>
          </a:xfrm>
          <a:prstGeom prst="rect">
            <a:avLst/>
          </a:prstGeom>
          <a:solidFill>
            <a:schemeClr val="tx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65" name="Rectangle 64"/>
          <p:cNvSpPr/>
          <p:nvPr/>
        </p:nvSpPr>
        <p:spPr>
          <a:xfrm rot="5400000">
            <a:off x="11779828" y="5164348"/>
            <a:ext cx="404121" cy="442800"/>
          </a:xfrm>
          <a:prstGeom prst="rect">
            <a:avLst/>
          </a:prstGeom>
          <a:solidFill>
            <a:schemeClr val="accent1">
              <a:alpha val="69804"/>
            </a:schemeClr>
          </a:solidFill>
          <a:ln w="38100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82880" bIns="0" rtlCol="0" anchor="ctr"/>
          <a:lstStyle/>
          <a:p>
            <a:pPr algn="ctr" latinLnBrk="1"/>
            <a:endParaRPr lang="en-US" sz="8000" dirty="0">
              <a:solidFill>
                <a:schemeClr val="accent4"/>
              </a:solidFill>
              <a:latin typeface="Source Sans Pro" charset="0"/>
              <a:ea typeface="굴림" charset="-127"/>
            </a:endParaRPr>
          </a:p>
        </p:txBody>
      </p:sp>
      <p:sp>
        <p:nvSpPr>
          <p:cNvPr id="2" name="مستطيل: زوايا مستديرة 1">
            <a:extLst>
              <a:ext uri="{FF2B5EF4-FFF2-40B4-BE49-F238E27FC236}">
                <a16:creationId xmlns:a16="http://schemas.microsoft.com/office/drawing/2014/main" id="{D16B1817-0592-5B4D-587D-AA9E93B56ECB}"/>
              </a:ext>
            </a:extLst>
          </p:cNvPr>
          <p:cNvSpPr/>
          <p:nvPr/>
        </p:nvSpPr>
        <p:spPr>
          <a:xfrm>
            <a:off x="600074" y="828675"/>
            <a:ext cx="5229225" cy="5029200"/>
          </a:xfrm>
          <a:prstGeom prst="roundRect">
            <a:avLst/>
          </a:prstGeom>
          <a:solidFill>
            <a:schemeClr val="accent1">
              <a:alpha val="3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endParaRPr lang="ar-SA" sz="32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6" name="صورة 5">
            <a:extLst>
              <a:ext uri="{FF2B5EF4-FFF2-40B4-BE49-F238E27FC236}">
                <a16:creationId xmlns:a16="http://schemas.microsoft.com/office/drawing/2014/main" id="{5AC776F0-4EFC-7B33-ED50-3F5CD146B01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532" y="1311196"/>
            <a:ext cx="4829174" cy="4025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283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 dir="ou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sp>
        <p:nvSpPr>
          <p:cNvPr id="24" name="Rectangle 23"/>
          <p:cNvSpPr/>
          <p:nvPr/>
        </p:nvSpPr>
        <p:spPr>
          <a:xfrm flipH="1">
            <a:off x="0" y="-8549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>
          <a:xfrm flipH="1">
            <a:off x="405234" y="3599185"/>
            <a:ext cx="4243980" cy="67710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ar-SA" sz="4400" b="0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 Jannat LT" panose="01000000000000000000" pitchFamily="2" charset="-78"/>
                <a:ea typeface="+mn-ea"/>
                <a:cs typeface="A Jannat LT" panose="01000000000000000000" pitchFamily="2" charset="-78"/>
              </a:rPr>
              <a:t>تمهيد </a:t>
            </a:r>
            <a:endParaRPr kumimoji="0" lang="ko-KR" altLang="en-US" sz="44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A Jannat LT" panose="01000000000000000000" pitchFamily="2" charset="-78"/>
              <a:ea typeface="+mn-ea"/>
              <a:cs typeface="A Jannat LT" panose="01000000000000000000" pitchFamily="2" charset="-78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326495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/>
          <p:cNvSpPr/>
          <p:nvPr/>
        </p:nvSpPr>
        <p:spPr>
          <a:xfrm>
            <a:off x="7566223" y="1984881"/>
            <a:ext cx="2876544" cy="2876544"/>
          </a:xfrm>
          <a:prstGeom prst="ellipse">
            <a:avLst/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3" name="Oval 32"/>
          <p:cNvSpPr/>
          <p:nvPr/>
        </p:nvSpPr>
        <p:spPr>
          <a:xfrm>
            <a:off x="7521610" y="1940268"/>
            <a:ext cx="2965768" cy="2965768"/>
          </a:xfrm>
          <a:prstGeom prst="ellipse">
            <a:avLst/>
          </a:prstGeom>
          <a:noFill/>
          <a:ln w="31750"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7396887" y="2379990"/>
            <a:ext cx="666045" cy="666045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339912" y="3203019"/>
            <a:ext cx="384884" cy="38488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7944038" y="2116156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9781393" y="4242129"/>
            <a:ext cx="474373" cy="474373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10169141" y="4011741"/>
            <a:ext cx="278538" cy="27853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8" name="Oval 37"/>
          <p:cNvSpPr/>
          <p:nvPr/>
        </p:nvSpPr>
        <p:spPr>
          <a:xfrm>
            <a:off x="9632542" y="2064962"/>
            <a:ext cx="297701" cy="29770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9" name="Oval 38"/>
          <p:cNvSpPr/>
          <p:nvPr/>
        </p:nvSpPr>
        <p:spPr>
          <a:xfrm>
            <a:off x="9958065" y="2297680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8159429" y="4589036"/>
            <a:ext cx="164620" cy="1646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8357684" y="4512788"/>
            <a:ext cx="658099" cy="65809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44" name="Rectangle 43"/>
          <p:cNvSpPr/>
          <p:nvPr/>
        </p:nvSpPr>
        <p:spPr>
          <a:xfrm flipH="1">
            <a:off x="7183351" y="978221"/>
            <a:ext cx="3639463" cy="411022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9900" b="1" kern="0" cap="all" dirty="0">
                <a:solidFill>
                  <a:prstClr val="white">
                    <a:alpha val="50000"/>
                  </a:prstClr>
                </a:solidFill>
                <a:latin typeface="Source Sans Pro Black" charset="0"/>
                <a:ea typeface="Source Sans Pro Black" charset="0"/>
                <a:cs typeface="Source Sans Pro Black" charset="0"/>
              </a:rPr>
              <a:t>3</a:t>
            </a:r>
            <a:endParaRPr kumimoji="0" lang="lt-LT" sz="19900" b="1" i="0" u="none" strike="noStrike" kern="0" cap="all" spc="0" normalizeH="0" baseline="0" noProof="0" dirty="0">
              <a:ln>
                <a:noFill/>
              </a:ln>
              <a:solidFill>
                <a:prstClr val="white">
                  <a:alpha val="50000"/>
                </a:prstClr>
              </a:solidFill>
              <a:effectLst/>
              <a:uLnTx/>
              <a:uFillTx/>
              <a:latin typeface="Source Sans Pro Black" charset="0"/>
              <a:ea typeface="Source Sans Pro Black" charset="0"/>
              <a:cs typeface="Source Sans Pro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9556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 flipH="1">
            <a:off x="11578370" y="6381088"/>
            <a:ext cx="358840" cy="215444"/>
          </a:xfrm>
          <a:prstGeom prst="rect">
            <a:avLst/>
          </a:prstGeom>
        </p:spPr>
        <p:txBody>
          <a:bodyPr/>
          <a:lstStyle/>
          <a:p>
            <a:fld id="{9EE92F51-9D7A-4895-B642-F19EBC2F540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6" name="Content Placeholder 15">
            <a:extLst>
              <a:ext uri="{FF2B5EF4-FFF2-40B4-BE49-F238E27FC236}">
                <a16:creationId xmlns:a16="http://schemas.microsoft.com/office/drawing/2014/main" id="{17C7D2AA-5855-4FAB-9565-361243A59664}"/>
              </a:ext>
            </a:extLst>
          </p:cNvPr>
          <p:cNvSpPr txBox="1">
            <a:spLocks/>
          </p:cNvSpPr>
          <p:nvPr/>
        </p:nvSpPr>
        <p:spPr>
          <a:xfrm>
            <a:off x="8454452" y="358946"/>
            <a:ext cx="3582650" cy="5458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rtl="1"/>
            <a:r>
              <a:rPr lang="ar-SA" altLang="ko-KR" sz="3200" dirty="0">
                <a:solidFill>
                  <a:srgbClr val="FFC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من خلال ..</a:t>
            </a:r>
          </a:p>
          <a:p>
            <a:pPr algn="r" rtl="1"/>
            <a:r>
              <a:rPr lang="ar-SA" altLang="ko-KR" sz="2400" dirty="0">
                <a:solidFill>
                  <a:srgbClr val="C0000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ستراتيجية قراءة الصورة</a:t>
            </a:r>
          </a:p>
          <a:p>
            <a:pPr algn="r" rtl="1"/>
            <a:endParaRPr lang="ar-SA" altLang="ko-KR" sz="2400" dirty="0">
              <a:solidFill>
                <a:srgbClr val="C00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r>
              <a:rPr lang="ar-SA" altLang="ko-KR" sz="3200" dirty="0">
                <a:solidFill>
                  <a:srgbClr val="00B05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استنتجي عنوان درسنا لهذا اليوم </a:t>
            </a:r>
            <a:r>
              <a:rPr lang="ar-SA" altLang="ko-KR" sz="3000" dirty="0">
                <a:solidFill>
                  <a:srgbClr val="00B050"/>
                </a:solidFill>
                <a:latin typeface="A Jannat LT" panose="01000000000000000000" pitchFamily="2" charset="-78"/>
                <a:cs typeface="A Jannat LT" panose="01000000000000000000" pitchFamily="2" charset="-78"/>
              </a:rPr>
              <a:t>؟</a:t>
            </a:r>
          </a:p>
          <a:p>
            <a:pPr algn="r" rtl="1"/>
            <a:endParaRPr lang="ar-SA" altLang="ko-KR" sz="3000" dirty="0">
              <a:solidFill>
                <a:srgbClr val="00B05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altLang="ko-KR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ko-KR" altLang="en-US" sz="3200" dirty="0">
              <a:solidFill>
                <a:srgbClr val="FFC000"/>
              </a:solidFill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7224A7F1-7EC7-4B16-B3FA-7D0A5FD3A2D5}"/>
              </a:ext>
            </a:extLst>
          </p:cNvPr>
          <p:cNvSpPr/>
          <p:nvPr/>
        </p:nvSpPr>
        <p:spPr>
          <a:xfrm flipH="1">
            <a:off x="4363687" y="1278480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7BE5BC24-23F8-46AC-8300-D4EC4D70DE63}"/>
              </a:ext>
            </a:extLst>
          </p:cNvPr>
          <p:cNvSpPr/>
          <p:nvPr/>
        </p:nvSpPr>
        <p:spPr>
          <a:xfrm flipH="1">
            <a:off x="2947341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9D2FC734-7B2C-4DBF-A49C-9D4A0AD5D967}"/>
              </a:ext>
            </a:extLst>
          </p:cNvPr>
          <p:cNvSpPr/>
          <p:nvPr/>
        </p:nvSpPr>
        <p:spPr>
          <a:xfrm flipH="1">
            <a:off x="957776" y="1822449"/>
            <a:ext cx="718402" cy="71596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3560F69-CA01-4BA0-A461-FB3A55271037}"/>
              </a:ext>
            </a:extLst>
          </p:cNvPr>
          <p:cNvSpPr/>
          <p:nvPr/>
        </p:nvSpPr>
        <p:spPr>
          <a:xfrm flipH="1">
            <a:off x="9381097" y="6318323"/>
            <a:ext cx="2499577" cy="62765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50000"/>
              </a:lnSpc>
            </a:pPr>
            <a:endParaRPr lang="en-US" sz="1100" dirty="0">
              <a:solidFill>
                <a:schemeClr val="accent3"/>
              </a:solidFill>
              <a:latin typeface="Source Sans Pro Light" panose="020B0403030403020204" pitchFamily="34" charset="-18"/>
            </a:endParaRPr>
          </a:p>
        </p:txBody>
      </p:sp>
      <p:pic>
        <p:nvPicPr>
          <p:cNvPr id="3" name="صورة 2">
            <a:extLst>
              <a:ext uri="{FF2B5EF4-FFF2-40B4-BE49-F238E27FC236}">
                <a16:creationId xmlns:a16="http://schemas.microsoft.com/office/drawing/2014/main" id="{F3115BCA-2728-EB97-37EA-2E8BCCCB3A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4787" y="0"/>
            <a:ext cx="8437248" cy="4075957"/>
          </a:xfrm>
          <a:prstGeom prst="rect">
            <a:avLst/>
          </a:prstGeom>
        </p:spPr>
      </p:pic>
      <p:pic>
        <p:nvPicPr>
          <p:cNvPr id="6" name="صورة 5">
            <a:extLst>
              <a:ext uri="{FF2B5EF4-FFF2-40B4-BE49-F238E27FC236}">
                <a16:creationId xmlns:a16="http://schemas.microsoft.com/office/drawing/2014/main" id="{EF6220E8-0494-164F-2007-7F83D359B55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0767" t="20856" r="4044" b="14119"/>
          <a:stretch/>
        </p:blipFill>
        <p:spPr>
          <a:xfrm>
            <a:off x="-4787" y="4075957"/>
            <a:ext cx="3648539" cy="2782043"/>
          </a:xfrm>
          <a:prstGeom prst="rect">
            <a:avLst/>
          </a:prstGeom>
        </p:spPr>
      </p:pic>
      <p:pic>
        <p:nvPicPr>
          <p:cNvPr id="11" name="صورة 10">
            <a:extLst>
              <a:ext uri="{FF2B5EF4-FFF2-40B4-BE49-F238E27FC236}">
                <a16:creationId xmlns:a16="http://schemas.microsoft.com/office/drawing/2014/main" id="{5BACAC4F-75B6-583F-16D4-F28AA461083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14522" y="4075957"/>
            <a:ext cx="4985566" cy="2782042"/>
          </a:xfrm>
          <a:prstGeom prst="rect">
            <a:avLst/>
          </a:prstGeom>
        </p:spPr>
      </p:pic>
      <p:pic>
        <p:nvPicPr>
          <p:cNvPr id="13" name="صورة 12">
            <a:extLst>
              <a:ext uri="{FF2B5EF4-FFF2-40B4-BE49-F238E27FC236}">
                <a16:creationId xmlns:a16="http://schemas.microsoft.com/office/drawing/2014/main" id="{4A253E39-FE8C-3E21-D2C2-9B093EF0536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6865" r="23879"/>
          <a:stretch/>
        </p:blipFill>
        <p:spPr>
          <a:xfrm>
            <a:off x="3665743" y="4075957"/>
            <a:ext cx="3424285" cy="2782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398560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Placeholder 6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54" t="12192" r="354" b="4034"/>
          <a:stretch/>
        </p:blipFill>
        <p:spPr/>
      </p:pic>
      <p:cxnSp>
        <p:nvCxnSpPr>
          <p:cNvPr id="19" name="Straight Connector 18"/>
          <p:cNvCxnSpPr/>
          <p:nvPr/>
        </p:nvCxnSpPr>
        <p:spPr>
          <a:xfrm>
            <a:off x="3553143" y="1503563"/>
            <a:ext cx="72778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Freeform 13"/>
          <p:cNvSpPr>
            <a:spLocks noEditPoints="1"/>
          </p:cNvSpPr>
          <p:nvPr/>
        </p:nvSpPr>
        <p:spPr bwMode="auto">
          <a:xfrm>
            <a:off x="3988167" y="5269688"/>
            <a:ext cx="687257" cy="776288"/>
          </a:xfrm>
          <a:custGeom>
            <a:avLst/>
            <a:gdLst>
              <a:gd name="T0" fmla="*/ 435 w 1487"/>
              <a:gd name="T1" fmla="*/ 1680 h 1680"/>
              <a:gd name="T2" fmla="*/ 346 w 1487"/>
              <a:gd name="T3" fmla="*/ 1283 h 1680"/>
              <a:gd name="T4" fmla="*/ 627 w 1487"/>
              <a:gd name="T5" fmla="*/ 1194 h 1680"/>
              <a:gd name="T6" fmla="*/ 654 w 1487"/>
              <a:gd name="T7" fmla="*/ 1074 h 1680"/>
              <a:gd name="T8" fmla="*/ 299 w 1487"/>
              <a:gd name="T9" fmla="*/ 672 h 1680"/>
              <a:gd name="T10" fmla="*/ 66 w 1487"/>
              <a:gd name="T11" fmla="*/ 441 h 1680"/>
              <a:gd name="T12" fmla="*/ 252 w 1487"/>
              <a:gd name="T13" fmla="*/ 0 h 1680"/>
              <a:gd name="T14" fmla="*/ 979 w 1487"/>
              <a:gd name="T15" fmla="*/ 14 h 1680"/>
              <a:gd name="T16" fmla="*/ 252 w 1487"/>
              <a:gd name="T17" fmla="*/ 28 h 1680"/>
              <a:gd name="T18" fmla="*/ 90 w 1487"/>
              <a:gd name="T19" fmla="*/ 426 h 1680"/>
              <a:gd name="T20" fmla="*/ 327 w 1487"/>
              <a:gd name="T21" fmla="*/ 668 h 1680"/>
              <a:gd name="T22" fmla="*/ 682 w 1487"/>
              <a:gd name="T23" fmla="*/ 1074 h 1680"/>
              <a:gd name="T24" fmla="*/ 627 w 1487"/>
              <a:gd name="T25" fmla="*/ 1222 h 1680"/>
              <a:gd name="T26" fmla="*/ 374 w 1487"/>
              <a:gd name="T27" fmla="*/ 1283 h 1680"/>
              <a:gd name="T28" fmla="*/ 435 w 1487"/>
              <a:gd name="T29" fmla="*/ 1652 h 1680"/>
              <a:gd name="T30" fmla="*/ 1113 w 1487"/>
              <a:gd name="T31" fmla="*/ 1591 h 1680"/>
              <a:gd name="T32" fmla="*/ 1051 w 1487"/>
              <a:gd name="T33" fmla="*/ 1222 h 1680"/>
              <a:gd name="T34" fmla="*/ 804 w 1487"/>
              <a:gd name="T35" fmla="*/ 1167 h 1680"/>
              <a:gd name="T36" fmla="*/ 845 w 1487"/>
              <a:gd name="T37" fmla="*/ 1024 h 1680"/>
              <a:gd name="T38" fmla="*/ 1005 w 1487"/>
              <a:gd name="T39" fmla="*/ 963 h 1680"/>
              <a:gd name="T40" fmla="*/ 851 w 1487"/>
              <a:gd name="T41" fmla="*/ 1051 h 1680"/>
              <a:gd name="T42" fmla="*/ 832 w 1487"/>
              <a:gd name="T43" fmla="*/ 1167 h 1680"/>
              <a:gd name="T44" fmla="*/ 1051 w 1487"/>
              <a:gd name="T45" fmla="*/ 1194 h 1680"/>
              <a:gd name="T46" fmla="*/ 1141 w 1487"/>
              <a:gd name="T47" fmla="*/ 1591 h 1680"/>
              <a:gd name="T48" fmla="*/ 1109 w 1487"/>
              <a:gd name="T49" fmla="*/ 864 h 1680"/>
              <a:gd name="T50" fmla="*/ 1097 w 1487"/>
              <a:gd name="T51" fmla="*/ 842 h 1680"/>
              <a:gd name="T52" fmla="*/ 1140 w 1487"/>
              <a:gd name="T53" fmla="*/ 793 h 1680"/>
              <a:gd name="T54" fmla="*/ 1121 w 1487"/>
              <a:gd name="T55" fmla="*/ 857 h 1680"/>
              <a:gd name="T56" fmla="*/ 1160 w 1487"/>
              <a:gd name="T57" fmla="*/ 754 h 1680"/>
              <a:gd name="T58" fmla="*/ 1146 w 1487"/>
              <a:gd name="T59" fmla="*/ 736 h 1680"/>
              <a:gd name="T60" fmla="*/ 1192 w 1487"/>
              <a:gd name="T61" fmla="*/ 618 h 1680"/>
              <a:gd name="T62" fmla="*/ 1442 w 1487"/>
              <a:gd name="T63" fmla="*/ 197 h 1680"/>
              <a:gd name="T64" fmla="*/ 1235 w 1487"/>
              <a:gd name="T65" fmla="*/ 28 h 1680"/>
              <a:gd name="T66" fmla="*/ 1235 w 1487"/>
              <a:gd name="T67" fmla="*/ 0 h 1680"/>
              <a:gd name="T68" fmla="*/ 1469 w 1487"/>
              <a:gd name="T69" fmla="*/ 190 h 1680"/>
              <a:gd name="T70" fmla="*/ 1207 w 1487"/>
              <a:gd name="T71" fmla="*/ 642 h 1680"/>
              <a:gd name="T72" fmla="*/ 1173 w 1487"/>
              <a:gd name="T73" fmla="*/ 744 h 1680"/>
              <a:gd name="T74" fmla="*/ 285 w 1487"/>
              <a:gd name="T75" fmla="*/ 450 h 1680"/>
              <a:gd name="T76" fmla="*/ 163 w 1487"/>
              <a:gd name="T77" fmla="*/ 227 h 1680"/>
              <a:gd name="T78" fmla="*/ 252 w 1487"/>
              <a:gd name="T79" fmla="*/ 150 h 1680"/>
              <a:gd name="T80" fmla="*/ 323 w 1487"/>
              <a:gd name="T81" fmla="*/ 412 h 1680"/>
              <a:gd name="T82" fmla="*/ 285 w 1487"/>
              <a:gd name="T83" fmla="*/ 450 h 1680"/>
              <a:gd name="T84" fmla="*/ 278 w 1487"/>
              <a:gd name="T85" fmla="*/ 419 h 1680"/>
              <a:gd name="T86" fmla="*/ 295 w 1487"/>
              <a:gd name="T87" fmla="*/ 412 h 1680"/>
              <a:gd name="T88" fmla="*/ 252 w 1487"/>
              <a:gd name="T89" fmla="*/ 178 h 1680"/>
              <a:gd name="T90" fmla="*/ 1202 w 1487"/>
              <a:gd name="T91" fmla="*/ 449 h 1680"/>
              <a:gd name="T92" fmla="*/ 1164 w 1487"/>
              <a:gd name="T93" fmla="*/ 411 h 1680"/>
              <a:gd name="T94" fmla="*/ 1235 w 1487"/>
              <a:gd name="T95" fmla="*/ 150 h 1680"/>
              <a:gd name="T96" fmla="*/ 1228 w 1487"/>
              <a:gd name="T97" fmla="*/ 439 h 1680"/>
              <a:gd name="T98" fmla="*/ 1192 w 1487"/>
              <a:gd name="T99" fmla="*/ 178 h 1680"/>
              <a:gd name="T100" fmla="*/ 1198 w 1487"/>
              <a:gd name="T101" fmla="*/ 420 h 1680"/>
              <a:gd name="T102" fmla="*/ 1296 w 1487"/>
              <a:gd name="T103" fmla="*/ 234 h 1680"/>
              <a:gd name="T104" fmla="*/ 1192 w 1487"/>
              <a:gd name="T105" fmla="*/ 178 h 1680"/>
              <a:gd name="T106" fmla="*/ 1055 w 1487"/>
              <a:gd name="T107" fmla="*/ 28 h 1680"/>
              <a:gd name="T108" fmla="*/ 1055 w 1487"/>
              <a:gd name="T109" fmla="*/ 0 h 1680"/>
              <a:gd name="T110" fmla="*/ 1179 w 1487"/>
              <a:gd name="T111" fmla="*/ 14 h 1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487" h="1680">
                <a:moveTo>
                  <a:pt x="1051" y="1680"/>
                </a:moveTo>
                <a:cubicBezTo>
                  <a:pt x="435" y="1680"/>
                  <a:pt x="435" y="1680"/>
                  <a:pt x="435" y="1680"/>
                </a:cubicBezTo>
                <a:cubicBezTo>
                  <a:pt x="386" y="1680"/>
                  <a:pt x="346" y="1640"/>
                  <a:pt x="346" y="1591"/>
                </a:cubicBezTo>
                <a:cubicBezTo>
                  <a:pt x="346" y="1283"/>
                  <a:pt x="346" y="1283"/>
                  <a:pt x="346" y="1283"/>
                </a:cubicBezTo>
                <a:cubicBezTo>
                  <a:pt x="346" y="1234"/>
                  <a:pt x="386" y="1194"/>
                  <a:pt x="435" y="1194"/>
                </a:cubicBezTo>
                <a:cubicBezTo>
                  <a:pt x="627" y="1194"/>
                  <a:pt x="627" y="1194"/>
                  <a:pt x="627" y="1194"/>
                </a:cubicBezTo>
                <a:cubicBezTo>
                  <a:pt x="642" y="1194"/>
                  <a:pt x="654" y="1182"/>
                  <a:pt x="654" y="1167"/>
                </a:cubicBezTo>
                <a:cubicBezTo>
                  <a:pt x="654" y="1074"/>
                  <a:pt x="654" y="1074"/>
                  <a:pt x="654" y="1074"/>
                </a:cubicBezTo>
                <a:cubicBezTo>
                  <a:pt x="654" y="1063"/>
                  <a:pt x="647" y="1053"/>
                  <a:pt x="635" y="1051"/>
                </a:cubicBezTo>
                <a:cubicBezTo>
                  <a:pt x="457" y="1006"/>
                  <a:pt x="322" y="854"/>
                  <a:pt x="299" y="672"/>
                </a:cubicBezTo>
                <a:cubicBezTo>
                  <a:pt x="298" y="660"/>
                  <a:pt x="291" y="649"/>
                  <a:pt x="280" y="643"/>
                </a:cubicBezTo>
                <a:cubicBezTo>
                  <a:pt x="184" y="582"/>
                  <a:pt x="111" y="514"/>
                  <a:pt x="66" y="441"/>
                </a:cubicBezTo>
                <a:cubicBezTo>
                  <a:pt x="0" y="336"/>
                  <a:pt x="4" y="247"/>
                  <a:pt x="18" y="190"/>
                </a:cubicBezTo>
                <a:cubicBezTo>
                  <a:pt x="47" y="78"/>
                  <a:pt x="143" y="0"/>
                  <a:pt x="252" y="0"/>
                </a:cubicBezTo>
                <a:cubicBezTo>
                  <a:pt x="965" y="0"/>
                  <a:pt x="965" y="0"/>
                  <a:pt x="965" y="0"/>
                </a:cubicBezTo>
                <a:cubicBezTo>
                  <a:pt x="973" y="0"/>
                  <a:pt x="979" y="6"/>
                  <a:pt x="979" y="14"/>
                </a:cubicBezTo>
                <a:cubicBezTo>
                  <a:pt x="979" y="22"/>
                  <a:pt x="973" y="28"/>
                  <a:pt x="965" y="28"/>
                </a:cubicBezTo>
                <a:cubicBezTo>
                  <a:pt x="252" y="28"/>
                  <a:pt x="252" y="28"/>
                  <a:pt x="252" y="28"/>
                </a:cubicBezTo>
                <a:cubicBezTo>
                  <a:pt x="156" y="28"/>
                  <a:pt x="71" y="98"/>
                  <a:pt x="45" y="197"/>
                </a:cubicBezTo>
                <a:cubicBezTo>
                  <a:pt x="32" y="248"/>
                  <a:pt x="29" y="330"/>
                  <a:pt x="90" y="426"/>
                </a:cubicBezTo>
                <a:cubicBezTo>
                  <a:pt x="133" y="495"/>
                  <a:pt x="202" y="560"/>
                  <a:pt x="295" y="619"/>
                </a:cubicBezTo>
                <a:cubicBezTo>
                  <a:pt x="313" y="630"/>
                  <a:pt x="324" y="648"/>
                  <a:pt x="327" y="668"/>
                </a:cubicBezTo>
                <a:cubicBezTo>
                  <a:pt x="348" y="839"/>
                  <a:pt x="475" y="982"/>
                  <a:pt x="642" y="1023"/>
                </a:cubicBezTo>
                <a:cubicBezTo>
                  <a:pt x="666" y="1029"/>
                  <a:pt x="682" y="1050"/>
                  <a:pt x="682" y="1074"/>
                </a:cubicBezTo>
                <a:cubicBezTo>
                  <a:pt x="682" y="1167"/>
                  <a:pt x="682" y="1167"/>
                  <a:pt x="682" y="1167"/>
                </a:cubicBezTo>
                <a:cubicBezTo>
                  <a:pt x="682" y="1197"/>
                  <a:pt x="658" y="1222"/>
                  <a:pt x="627" y="1222"/>
                </a:cubicBezTo>
                <a:cubicBezTo>
                  <a:pt x="435" y="1222"/>
                  <a:pt x="435" y="1222"/>
                  <a:pt x="435" y="1222"/>
                </a:cubicBezTo>
                <a:cubicBezTo>
                  <a:pt x="402" y="1222"/>
                  <a:pt x="374" y="1249"/>
                  <a:pt x="374" y="1283"/>
                </a:cubicBezTo>
                <a:cubicBezTo>
                  <a:pt x="374" y="1591"/>
                  <a:pt x="374" y="1591"/>
                  <a:pt x="374" y="1591"/>
                </a:cubicBezTo>
                <a:cubicBezTo>
                  <a:pt x="374" y="1625"/>
                  <a:pt x="402" y="1652"/>
                  <a:pt x="435" y="1652"/>
                </a:cubicBezTo>
                <a:cubicBezTo>
                  <a:pt x="1051" y="1652"/>
                  <a:pt x="1051" y="1652"/>
                  <a:pt x="1051" y="1652"/>
                </a:cubicBezTo>
                <a:cubicBezTo>
                  <a:pt x="1085" y="1652"/>
                  <a:pt x="1113" y="1625"/>
                  <a:pt x="1113" y="1591"/>
                </a:cubicBezTo>
                <a:cubicBezTo>
                  <a:pt x="1113" y="1283"/>
                  <a:pt x="1113" y="1283"/>
                  <a:pt x="1113" y="1283"/>
                </a:cubicBezTo>
                <a:cubicBezTo>
                  <a:pt x="1113" y="1249"/>
                  <a:pt x="1085" y="1222"/>
                  <a:pt x="1051" y="1222"/>
                </a:cubicBezTo>
                <a:cubicBezTo>
                  <a:pt x="860" y="1222"/>
                  <a:pt x="860" y="1222"/>
                  <a:pt x="860" y="1222"/>
                </a:cubicBezTo>
                <a:cubicBezTo>
                  <a:pt x="829" y="1222"/>
                  <a:pt x="804" y="1197"/>
                  <a:pt x="804" y="1167"/>
                </a:cubicBezTo>
                <a:cubicBezTo>
                  <a:pt x="804" y="1075"/>
                  <a:pt x="804" y="1075"/>
                  <a:pt x="804" y="1075"/>
                </a:cubicBezTo>
                <a:cubicBezTo>
                  <a:pt x="804" y="1050"/>
                  <a:pt x="821" y="1029"/>
                  <a:pt x="845" y="1024"/>
                </a:cubicBezTo>
                <a:cubicBezTo>
                  <a:pt x="895" y="1011"/>
                  <a:pt x="942" y="990"/>
                  <a:pt x="985" y="960"/>
                </a:cubicBezTo>
                <a:cubicBezTo>
                  <a:pt x="991" y="955"/>
                  <a:pt x="1000" y="957"/>
                  <a:pt x="1005" y="963"/>
                </a:cubicBezTo>
                <a:cubicBezTo>
                  <a:pt x="1009" y="969"/>
                  <a:pt x="1007" y="978"/>
                  <a:pt x="1001" y="982"/>
                </a:cubicBezTo>
                <a:cubicBezTo>
                  <a:pt x="956" y="1014"/>
                  <a:pt x="905" y="1037"/>
                  <a:pt x="851" y="1051"/>
                </a:cubicBezTo>
                <a:cubicBezTo>
                  <a:pt x="840" y="1054"/>
                  <a:pt x="832" y="1063"/>
                  <a:pt x="832" y="1075"/>
                </a:cubicBezTo>
                <a:cubicBezTo>
                  <a:pt x="832" y="1167"/>
                  <a:pt x="832" y="1167"/>
                  <a:pt x="832" y="1167"/>
                </a:cubicBezTo>
                <a:cubicBezTo>
                  <a:pt x="832" y="1182"/>
                  <a:pt x="845" y="1194"/>
                  <a:pt x="860" y="1194"/>
                </a:cubicBezTo>
                <a:cubicBezTo>
                  <a:pt x="1051" y="1194"/>
                  <a:pt x="1051" y="1194"/>
                  <a:pt x="1051" y="1194"/>
                </a:cubicBezTo>
                <a:cubicBezTo>
                  <a:pt x="1101" y="1194"/>
                  <a:pt x="1141" y="1234"/>
                  <a:pt x="1141" y="1283"/>
                </a:cubicBezTo>
                <a:cubicBezTo>
                  <a:pt x="1141" y="1591"/>
                  <a:pt x="1141" y="1591"/>
                  <a:pt x="1141" y="1591"/>
                </a:cubicBezTo>
                <a:cubicBezTo>
                  <a:pt x="1141" y="1640"/>
                  <a:pt x="1101" y="1680"/>
                  <a:pt x="1051" y="1680"/>
                </a:cubicBezTo>
                <a:close/>
                <a:moveTo>
                  <a:pt x="1109" y="864"/>
                </a:moveTo>
                <a:cubicBezTo>
                  <a:pt x="1107" y="864"/>
                  <a:pt x="1104" y="863"/>
                  <a:pt x="1102" y="862"/>
                </a:cubicBezTo>
                <a:cubicBezTo>
                  <a:pt x="1095" y="858"/>
                  <a:pt x="1093" y="849"/>
                  <a:pt x="1097" y="842"/>
                </a:cubicBezTo>
                <a:cubicBezTo>
                  <a:pt x="1106" y="828"/>
                  <a:pt x="1115" y="814"/>
                  <a:pt x="1122" y="799"/>
                </a:cubicBezTo>
                <a:cubicBezTo>
                  <a:pt x="1125" y="792"/>
                  <a:pt x="1134" y="789"/>
                  <a:pt x="1140" y="793"/>
                </a:cubicBezTo>
                <a:cubicBezTo>
                  <a:pt x="1147" y="796"/>
                  <a:pt x="1150" y="804"/>
                  <a:pt x="1147" y="811"/>
                </a:cubicBezTo>
                <a:cubicBezTo>
                  <a:pt x="1139" y="827"/>
                  <a:pt x="1130" y="843"/>
                  <a:pt x="1121" y="857"/>
                </a:cubicBezTo>
                <a:cubicBezTo>
                  <a:pt x="1118" y="862"/>
                  <a:pt x="1114" y="864"/>
                  <a:pt x="1109" y="864"/>
                </a:cubicBezTo>
                <a:close/>
                <a:moveTo>
                  <a:pt x="1160" y="754"/>
                </a:moveTo>
                <a:cubicBezTo>
                  <a:pt x="1159" y="754"/>
                  <a:pt x="1157" y="754"/>
                  <a:pt x="1156" y="753"/>
                </a:cubicBezTo>
                <a:cubicBezTo>
                  <a:pt x="1148" y="751"/>
                  <a:pt x="1144" y="743"/>
                  <a:pt x="1146" y="736"/>
                </a:cubicBezTo>
                <a:cubicBezTo>
                  <a:pt x="1153" y="714"/>
                  <a:pt x="1158" y="691"/>
                  <a:pt x="1161" y="668"/>
                </a:cubicBezTo>
                <a:cubicBezTo>
                  <a:pt x="1163" y="647"/>
                  <a:pt x="1175" y="629"/>
                  <a:pt x="1192" y="618"/>
                </a:cubicBezTo>
                <a:cubicBezTo>
                  <a:pt x="1285" y="560"/>
                  <a:pt x="1354" y="495"/>
                  <a:pt x="1397" y="426"/>
                </a:cubicBezTo>
                <a:cubicBezTo>
                  <a:pt x="1458" y="330"/>
                  <a:pt x="1455" y="248"/>
                  <a:pt x="1442" y="197"/>
                </a:cubicBezTo>
                <a:cubicBezTo>
                  <a:pt x="1421" y="118"/>
                  <a:pt x="1362" y="55"/>
                  <a:pt x="1287" y="35"/>
                </a:cubicBezTo>
                <a:cubicBezTo>
                  <a:pt x="1270" y="30"/>
                  <a:pt x="1252" y="28"/>
                  <a:pt x="1235" y="28"/>
                </a:cubicBezTo>
                <a:cubicBezTo>
                  <a:pt x="1227" y="28"/>
                  <a:pt x="1221" y="22"/>
                  <a:pt x="1221" y="14"/>
                </a:cubicBezTo>
                <a:cubicBezTo>
                  <a:pt x="1221" y="6"/>
                  <a:pt x="1227" y="0"/>
                  <a:pt x="1235" y="0"/>
                </a:cubicBezTo>
                <a:cubicBezTo>
                  <a:pt x="1255" y="0"/>
                  <a:pt x="1275" y="3"/>
                  <a:pt x="1294" y="8"/>
                </a:cubicBezTo>
                <a:cubicBezTo>
                  <a:pt x="1379" y="31"/>
                  <a:pt x="1446" y="101"/>
                  <a:pt x="1469" y="190"/>
                </a:cubicBezTo>
                <a:cubicBezTo>
                  <a:pt x="1483" y="247"/>
                  <a:pt x="1487" y="336"/>
                  <a:pt x="1421" y="441"/>
                </a:cubicBezTo>
                <a:cubicBezTo>
                  <a:pt x="1375" y="514"/>
                  <a:pt x="1303" y="581"/>
                  <a:pt x="1207" y="642"/>
                </a:cubicBezTo>
                <a:cubicBezTo>
                  <a:pt x="1197" y="649"/>
                  <a:pt x="1190" y="659"/>
                  <a:pt x="1188" y="671"/>
                </a:cubicBezTo>
                <a:cubicBezTo>
                  <a:pt x="1185" y="696"/>
                  <a:pt x="1180" y="720"/>
                  <a:pt x="1173" y="744"/>
                </a:cubicBezTo>
                <a:cubicBezTo>
                  <a:pt x="1171" y="750"/>
                  <a:pt x="1166" y="754"/>
                  <a:pt x="1160" y="754"/>
                </a:cubicBezTo>
                <a:close/>
                <a:moveTo>
                  <a:pt x="285" y="450"/>
                </a:moveTo>
                <a:cubicBezTo>
                  <a:pt x="276" y="450"/>
                  <a:pt x="267" y="446"/>
                  <a:pt x="259" y="439"/>
                </a:cubicBezTo>
                <a:cubicBezTo>
                  <a:pt x="182" y="368"/>
                  <a:pt x="147" y="291"/>
                  <a:pt x="163" y="227"/>
                </a:cubicBezTo>
                <a:cubicBezTo>
                  <a:pt x="163" y="227"/>
                  <a:pt x="163" y="227"/>
                  <a:pt x="163" y="227"/>
                </a:cubicBezTo>
                <a:cubicBezTo>
                  <a:pt x="176" y="177"/>
                  <a:pt x="218" y="150"/>
                  <a:pt x="252" y="150"/>
                </a:cubicBezTo>
                <a:cubicBezTo>
                  <a:pt x="323" y="150"/>
                  <a:pt x="323" y="150"/>
                  <a:pt x="323" y="150"/>
                </a:cubicBezTo>
                <a:cubicBezTo>
                  <a:pt x="323" y="412"/>
                  <a:pt x="323" y="412"/>
                  <a:pt x="323" y="412"/>
                </a:cubicBezTo>
                <a:cubicBezTo>
                  <a:pt x="323" y="427"/>
                  <a:pt x="315" y="440"/>
                  <a:pt x="301" y="446"/>
                </a:cubicBezTo>
                <a:cubicBezTo>
                  <a:pt x="296" y="449"/>
                  <a:pt x="290" y="450"/>
                  <a:pt x="285" y="450"/>
                </a:cubicBezTo>
                <a:close/>
                <a:moveTo>
                  <a:pt x="191" y="234"/>
                </a:moveTo>
                <a:cubicBezTo>
                  <a:pt x="177" y="287"/>
                  <a:pt x="209" y="355"/>
                  <a:pt x="278" y="419"/>
                </a:cubicBezTo>
                <a:cubicBezTo>
                  <a:pt x="283" y="423"/>
                  <a:pt x="288" y="421"/>
                  <a:pt x="289" y="421"/>
                </a:cubicBezTo>
                <a:cubicBezTo>
                  <a:pt x="291" y="420"/>
                  <a:pt x="295" y="417"/>
                  <a:pt x="295" y="412"/>
                </a:cubicBezTo>
                <a:cubicBezTo>
                  <a:pt x="295" y="178"/>
                  <a:pt x="295" y="178"/>
                  <a:pt x="295" y="178"/>
                </a:cubicBezTo>
                <a:cubicBezTo>
                  <a:pt x="252" y="178"/>
                  <a:pt x="252" y="178"/>
                  <a:pt x="252" y="178"/>
                </a:cubicBezTo>
                <a:cubicBezTo>
                  <a:pt x="229" y="178"/>
                  <a:pt x="200" y="197"/>
                  <a:pt x="191" y="234"/>
                </a:cubicBezTo>
                <a:close/>
                <a:moveTo>
                  <a:pt x="1202" y="449"/>
                </a:moveTo>
                <a:cubicBezTo>
                  <a:pt x="1197" y="449"/>
                  <a:pt x="1192" y="448"/>
                  <a:pt x="1187" y="446"/>
                </a:cubicBezTo>
                <a:cubicBezTo>
                  <a:pt x="1173" y="440"/>
                  <a:pt x="1164" y="427"/>
                  <a:pt x="1164" y="411"/>
                </a:cubicBezTo>
                <a:cubicBezTo>
                  <a:pt x="1164" y="150"/>
                  <a:pt x="1164" y="150"/>
                  <a:pt x="1164" y="150"/>
                </a:cubicBezTo>
                <a:cubicBezTo>
                  <a:pt x="1235" y="150"/>
                  <a:pt x="1235" y="150"/>
                  <a:pt x="1235" y="150"/>
                </a:cubicBezTo>
                <a:cubicBezTo>
                  <a:pt x="1269" y="150"/>
                  <a:pt x="1310" y="177"/>
                  <a:pt x="1323" y="227"/>
                </a:cubicBezTo>
                <a:cubicBezTo>
                  <a:pt x="1339" y="291"/>
                  <a:pt x="1305" y="368"/>
                  <a:pt x="1228" y="439"/>
                </a:cubicBezTo>
                <a:cubicBezTo>
                  <a:pt x="1221" y="446"/>
                  <a:pt x="1211" y="449"/>
                  <a:pt x="1202" y="449"/>
                </a:cubicBezTo>
                <a:close/>
                <a:moveTo>
                  <a:pt x="1192" y="178"/>
                </a:moveTo>
                <a:cubicBezTo>
                  <a:pt x="1192" y="411"/>
                  <a:pt x="1192" y="411"/>
                  <a:pt x="1192" y="411"/>
                </a:cubicBezTo>
                <a:cubicBezTo>
                  <a:pt x="1192" y="417"/>
                  <a:pt x="1196" y="420"/>
                  <a:pt x="1198" y="420"/>
                </a:cubicBezTo>
                <a:cubicBezTo>
                  <a:pt x="1199" y="421"/>
                  <a:pt x="1204" y="423"/>
                  <a:pt x="1209" y="418"/>
                </a:cubicBezTo>
                <a:cubicBezTo>
                  <a:pt x="1278" y="354"/>
                  <a:pt x="1310" y="287"/>
                  <a:pt x="1296" y="234"/>
                </a:cubicBezTo>
                <a:cubicBezTo>
                  <a:pt x="1287" y="197"/>
                  <a:pt x="1258" y="178"/>
                  <a:pt x="1235" y="178"/>
                </a:cubicBezTo>
                <a:lnTo>
                  <a:pt x="1192" y="178"/>
                </a:lnTo>
                <a:close/>
                <a:moveTo>
                  <a:pt x="1165" y="28"/>
                </a:moveTo>
                <a:cubicBezTo>
                  <a:pt x="1055" y="28"/>
                  <a:pt x="1055" y="28"/>
                  <a:pt x="1055" y="28"/>
                </a:cubicBezTo>
                <a:cubicBezTo>
                  <a:pt x="1047" y="28"/>
                  <a:pt x="1041" y="22"/>
                  <a:pt x="1041" y="14"/>
                </a:cubicBezTo>
                <a:cubicBezTo>
                  <a:pt x="1041" y="6"/>
                  <a:pt x="1047" y="0"/>
                  <a:pt x="1055" y="0"/>
                </a:cubicBezTo>
                <a:cubicBezTo>
                  <a:pt x="1165" y="0"/>
                  <a:pt x="1165" y="0"/>
                  <a:pt x="1165" y="0"/>
                </a:cubicBezTo>
                <a:cubicBezTo>
                  <a:pt x="1173" y="0"/>
                  <a:pt x="1179" y="6"/>
                  <a:pt x="1179" y="14"/>
                </a:cubicBezTo>
                <a:cubicBezTo>
                  <a:pt x="1179" y="22"/>
                  <a:pt x="1173" y="28"/>
                  <a:pt x="1165" y="28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3104">
            <a:off x="4741528" y="1275569"/>
            <a:ext cx="4889029" cy="3081649"/>
          </a:xfrm>
          <a:prstGeom prst="rect">
            <a:avLst/>
          </a:prstGeom>
        </p:spPr>
      </p:pic>
      <p:sp>
        <p:nvSpPr>
          <p:cNvPr id="24" name="Rectangle 23"/>
          <p:cNvSpPr/>
          <p:nvPr/>
        </p:nvSpPr>
        <p:spPr>
          <a:xfrm flipH="1">
            <a:off x="0" y="0"/>
            <a:ext cx="4813310" cy="6866549"/>
          </a:xfrm>
          <a:prstGeom prst="rect">
            <a:avLst/>
          </a:prstGeom>
          <a:solidFill>
            <a:schemeClr val="tx1">
              <a:alpha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lt-LT" sz="3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365794" y="270224"/>
            <a:ext cx="5258752" cy="5886943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/>
              <a:ea typeface="+mn-ea"/>
              <a:cs typeface="+mn-cs"/>
            </a:endParaRPr>
          </a:p>
        </p:txBody>
      </p:sp>
      <p:sp>
        <p:nvSpPr>
          <p:cNvPr id="3" name="مستطيل: زوايا مستديرة 2">
            <a:extLst>
              <a:ext uri="{FF2B5EF4-FFF2-40B4-BE49-F238E27FC236}">
                <a16:creationId xmlns:a16="http://schemas.microsoft.com/office/drawing/2014/main" id="{7CDC34F1-D315-409F-961D-F48EAF85A957}"/>
              </a:ext>
            </a:extLst>
          </p:cNvPr>
          <p:cNvSpPr/>
          <p:nvPr/>
        </p:nvSpPr>
        <p:spPr>
          <a:xfrm>
            <a:off x="678656" y="792956"/>
            <a:ext cx="3721894" cy="4936332"/>
          </a:xfrm>
          <a:prstGeom prst="roundRect">
            <a:avLst/>
          </a:prstGeom>
          <a:solidFill>
            <a:schemeClr val="accent1">
              <a:alpha val="5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1" anchor="ctr"/>
          <a:lstStyle/>
          <a:p>
            <a:pPr algn="ctr"/>
            <a:r>
              <a:rPr lang="ar-SA" sz="3600" b="1" dirty="0">
                <a:solidFill>
                  <a:schemeClr val="accent1">
                    <a:lumMod val="50000"/>
                  </a:schemeClr>
                </a:solidFill>
              </a:rPr>
              <a:t>الوحدة الثالثة </a:t>
            </a:r>
          </a:p>
          <a:p>
            <a:pPr algn="ctr"/>
            <a:r>
              <a:rPr lang="ar-SA" sz="2400" b="1" dirty="0"/>
              <a:t>البرمجة المتقدمة باستخدام لغة ترميز النص التشعبي </a:t>
            </a:r>
          </a:p>
          <a:p>
            <a:pPr algn="ctr"/>
            <a:endParaRPr lang="ar-SA" sz="2400" b="1" dirty="0"/>
          </a:p>
          <a:p>
            <a:pPr algn="ctr"/>
            <a:endParaRPr lang="ar-SA" dirty="0"/>
          </a:p>
          <a:p>
            <a:pPr algn="ctr"/>
            <a:endParaRPr lang="ar-SA" dirty="0"/>
          </a:p>
          <a:p>
            <a:pPr algn="ctr"/>
            <a:r>
              <a:rPr lang="ar-SA" sz="3200" b="1" dirty="0">
                <a:solidFill>
                  <a:srgbClr val="C00000"/>
                </a:solidFill>
              </a:rPr>
              <a:t>الدرس الثالث </a:t>
            </a:r>
          </a:p>
          <a:p>
            <a:pPr algn="ctr"/>
            <a:r>
              <a:rPr lang="ar-SA" sz="2000" b="1" dirty="0"/>
              <a:t>تصميم الموقع الإلكتروني</a:t>
            </a:r>
          </a:p>
        </p:txBody>
      </p:sp>
    </p:spTree>
    <p:extLst>
      <p:ext uri="{BB962C8B-B14F-4D97-AF65-F5344CB8AC3E}">
        <p14:creationId xmlns:p14="http://schemas.microsoft.com/office/powerpoint/2010/main" val="3767652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0"/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7" name="Rectangle 16"/>
          <p:cNvSpPr/>
          <p:nvPr/>
        </p:nvSpPr>
        <p:spPr>
          <a:xfrm>
            <a:off x="-12336" y="0"/>
            <a:ext cx="4208728" cy="6880578"/>
          </a:xfrm>
          <a:prstGeom prst="rect">
            <a:avLst/>
          </a:prstGeom>
          <a:solidFill>
            <a:schemeClr val="accent2">
              <a:alpha val="1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208727" y="-22578"/>
            <a:ext cx="7995609" cy="6880578"/>
          </a:xfrm>
          <a:prstGeom prst="rect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2" name="Straight Connector 61"/>
          <p:cNvCxnSpPr/>
          <p:nvPr/>
        </p:nvCxnSpPr>
        <p:spPr>
          <a:xfrm>
            <a:off x="4208727" y="-108857"/>
            <a:ext cx="0" cy="6966857"/>
          </a:xfrm>
          <a:prstGeom prst="line">
            <a:avLst/>
          </a:prstGeom>
          <a:ln w="1270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15"/>
          <p:cNvSpPr txBox="1">
            <a:spLocks/>
          </p:cNvSpPr>
          <p:nvPr/>
        </p:nvSpPr>
        <p:spPr>
          <a:xfrm>
            <a:off x="8584401" y="265051"/>
            <a:ext cx="3850458" cy="148130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1"/>
            <a:r>
              <a:rPr lang="ar-SA" sz="5400" u="sng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هداف الدرس </a:t>
            </a:r>
            <a:endParaRPr lang="ar-EG" sz="5400" u="sng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10" name="Content Placeholder 15"/>
          <p:cNvSpPr txBox="1">
            <a:spLocks/>
          </p:cNvSpPr>
          <p:nvPr/>
        </p:nvSpPr>
        <p:spPr>
          <a:xfrm>
            <a:off x="4529000" y="1252364"/>
            <a:ext cx="74784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  <p:sp>
        <p:nvSpPr>
          <p:cNvPr id="9" name="Content Placeholder 15"/>
          <p:cNvSpPr txBox="1">
            <a:spLocks/>
          </p:cNvSpPr>
          <p:nvPr/>
        </p:nvSpPr>
        <p:spPr>
          <a:xfrm>
            <a:off x="3058700" y="1360977"/>
            <a:ext cx="8948793" cy="493857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 defTabSz="848899" rtl="0" eaLnBrk="1" latinLnBrk="0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  <a:defRPr lang="pl-PL" sz="2800" b="0" i="0" kern="1200" spc="-30" baseline="0" dirty="0" smtClean="0">
                <a:solidFill>
                  <a:schemeClr val="tx1"/>
                </a:solidFill>
                <a:uFillTx/>
                <a:latin typeface="Source Sans Pro Light" panose="020B0403030403020204" pitchFamily="34" charset="-18"/>
                <a:ea typeface="+mj-ea"/>
                <a:cs typeface="+mj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مراحل إنشاء موقع 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خصائص التي ينبغي توافرها في الموقع الإلكتروني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قسيم الصفحة في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HTML</a:t>
            </a:r>
          </a:p>
          <a:p>
            <a:pPr marL="514350" indent="-514350" algn="r" rtl="1">
              <a:buFont typeface="Arial" panose="020B0604020202020204" pitchFamily="34" charset="0"/>
              <a:buChar char="•"/>
            </a:pP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إنشاء ملف </a:t>
            </a:r>
            <a:r>
              <a:rPr lang="en-US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CSS</a:t>
            </a:r>
            <a:r>
              <a:rPr lang="ar-SA" sz="3200" dirty="0">
                <a:solidFill>
                  <a:schemeClr val="accent4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وتعيين بعض التنسيقات على الموقع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 استخدام خاصية الخلفي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ackground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  <a:endParaRPr lang="en-US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ستخدام خاصية تجاوز السعة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Over flow property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نموذج الصندوق (</a:t>
            </a:r>
            <a:r>
              <a:rPr lang="en-US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Box-Model</a:t>
            </a: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) (الإطار – الهامش – الفراغ )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التحكم في حجم ومحاذاة الصور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r>
              <a:rPr lang="ar-SA" sz="24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 Jannat LT" panose="01000000000000000000" pitchFamily="2" charset="-78"/>
                <a:cs typeface="A Jannat LT" panose="01000000000000000000" pitchFamily="2" charset="-78"/>
              </a:rPr>
              <a:t>تنسيق شريط التصفح</a:t>
            </a:r>
          </a:p>
          <a:p>
            <a:pPr marL="514350" indent="-514350" algn="r" rtl="1">
              <a:buFont typeface="Wingdings" panose="05000000000000000000" pitchFamily="2" charset="2"/>
              <a:buChar char="q"/>
            </a:pPr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2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algn="r" rtl="1"/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14350" indent="-51435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  <a:p>
            <a:pPr marL="571500" indent="-571500" algn="r" rtl="1">
              <a:buFont typeface="Arial" panose="020B0604020202020204" pitchFamily="34" charset="0"/>
              <a:buChar char="•"/>
            </a:pPr>
            <a:endParaRPr lang="ar-SA" sz="3200" dirty="0">
              <a:solidFill>
                <a:schemeClr val="accent4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 Jannat LT" panose="01000000000000000000" pitchFamily="2" charset="-78"/>
              <a:cs typeface="A Jannat LT" panose="010000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12542673"/>
      </p:ext>
    </p:extLst>
  </p:cSld>
  <p:clrMapOvr>
    <a:masterClrMapping/>
  </p:clrMapOvr>
  <p:transition spd="slow">
    <p:randomBar dir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 tmFilter="0, 0; .2, .5; .8, .5; 1, 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250" autoRev="1" fill="hold"/>
                                        <p:tgtEl>
                                          <p:spTgt spid="85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0" nodeType="after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6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 tmFilter="0, 0; .2, .5; .8, .5; 1, 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5" dur="250" autoRev="1" fill="hold"/>
                                        <p:tgtEl>
                                          <p:spTgt spid="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/>
      <p:bldP spid="10" grpId="0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Kotio">
      <a:dk1>
        <a:srgbClr val="262626"/>
      </a:dk1>
      <a:lt1>
        <a:sysClr val="window" lastClr="FFFFFF"/>
      </a:lt1>
      <a:dk2>
        <a:srgbClr val="BFBFBF"/>
      </a:dk2>
      <a:lt2>
        <a:srgbClr val="E7E6E6"/>
      </a:lt2>
      <a:accent1>
        <a:srgbClr val="FFC000"/>
      </a:accent1>
      <a:accent2>
        <a:srgbClr val="0C0C0C"/>
      </a:accent2>
      <a:accent3>
        <a:srgbClr val="262626"/>
      </a:accent3>
      <a:accent4>
        <a:srgbClr val="3F3F3F"/>
      </a:accent4>
      <a:accent5>
        <a:srgbClr val="595959"/>
      </a:accent5>
      <a:accent6>
        <a:srgbClr val="7F7F7F"/>
      </a:accent6>
      <a:hlink>
        <a:srgbClr val="FFC000"/>
      </a:hlink>
      <a:folHlink>
        <a:srgbClr val="BFBFBF"/>
      </a:folHlink>
    </a:clrScheme>
    <a:fontScheme name="Kotio">
      <a:majorFont>
        <a:latin typeface="Source Sans Pro"/>
        <a:ea typeface=""/>
        <a:cs typeface=""/>
      </a:majorFont>
      <a:minorFont>
        <a:latin typeface="Source Sans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890</TotalTime>
  <Words>1167</Words>
  <Application>Microsoft Office PowerPoint</Application>
  <PresentationFormat>شاشة عريضة</PresentationFormat>
  <Paragraphs>390</Paragraphs>
  <Slides>47</Slides>
  <Notes>47</Notes>
  <HiddenSlides>0</HiddenSlides>
  <MMClips>0</MMClips>
  <ScaleCrop>false</ScaleCrop>
  <HeadingPairs>
    <vt:vector size="8" baseType="variant">
      <vt:variant>
        <vt:lpstr>الخطوط المستخدمة</vt:lpstr>
      </vt:variant>
      <vt:variant>
        <vt:i4>11</vt:i4>
      </vt:variant>
      <vt:variant>
        <vt:lpstr>نسق</vt:lpstr>
      </vt:variant>
      <vt:variant>
        <vt:i4>2</vt:i4>
      </vt:variant>
      <vt:variant>
        <vt:lpstr>خوادم OLE مضمنة</vt:lpstr>
      </vt:variant>
      <vt:variant>
        <vt:i4>1</vt:i4>
      </vt:variant>
      <vt:variant>
        <vt:lpstr>عناوين الشرائح</vt:lpstr>
      </vt:variant>
      <vt:variant>
        <vt:i4>47</vt:i4>
      </vt:variant>
    </vt:vector>
  </HeadingPairs>
  <TitlesOfParts>
    <vt:vector size="61" baseType="lpstr">
      <vt:lpstr>A Jannat LT</vt:lpstr>
      <vt:lpstr>Arial</vt:lpstr>
      <vt:lpstr>Calibri</vt:lpstr>
      <vt:lpstr>Calibri Light</vt:lpstr>
      <vt:lpstr>Century Gothic</vt:lpstr>
      <vt:lpstr>Georgia</vt:lpstr>
      <vt:lpstr>Source Sans Pro</vt:lpstr>
      <vt:lpstr>Source Sans Pro Black</vt:lpstr>
      <vt:lpstr>Source Sans Pro Light</vt:lpstr>
      <vt:lpstr>Times New Roman</vt:lpstr>
      <vt:lpstr>Wingdings</vt:lpstr>
      <vt:lpstr>Office Theme</vt:lpstr>
      <vt:lpstr>1_Office Theme</vt:lpstr>
      <vt:lpstr>think-cell Slide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  <vt:lpstr>عرض تقديمي في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us</dc:creator>
  <cp:lastModifiedBy>hms</cp:lastModifiedBy>
  <cp:revision>57</cp:revision>
  <dcterms:created xsi:type="dcterms:W3CDTF">2021-10-31T13:20:47Z</dcterms:created>
  <dcterms:modified xsi:type="dcterms:W3CDTF">2023-01-30T20:30:00Z</dcterms:modified>
</cp:coreProperties>
</file>